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411" r:id="rId2"/>
    <p:sldId id="418" r:id="rId3"/>
    <p:sldId id="412" r:id="rId4"/>
    <p:sldId id="413" r:id="rId5"/>
    <p:sldId id="416" r:id="rId6"/>
    <p:sldId id="371" r:id="rId7"/>
    <p:sldId id="401" r:id="rId8"/>
    <p:sldId id="414" r:id="rId9"/>
    <p:sldId id="399" r:id="rId10"/>
    <p:sldId id="415" r:id="rId11"/>
    <p:sldId id="403" r:id="rId12"/>
    <p:sldId id="406" r:id="rId13"/>
    <p:sldId id="405" r:id="rId14"/>
    <p:sldId id="404" r:id="rId15"/>
    <p:sldId id="407" r:id="rId16"/>
    <p:sldId id="402" r:id="rId17"/>
    <p:sldId id="417" r:id="rId18"/>
    <p:sldId id="377" r:id="rId19"/>
    <p:sldId id="408" r:id="rId20"/>
    <p:sldId id="336" r:id="rId21"/>
    <p:sldId id="400" r:id="rId22"/>
    <p:sldId id="409" r:id="rId23"/>
  </p:sldIdLst>
  <p:sldSz cx="12192000" cy="6858000"/>
  <p:notesSz cx="6797675" cy="9926638"/>
  <p:custDataLst>
    <p:tags r:id="rId2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1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 zenz" initials="lz" lastIdx="1" clrIdx="0"/>
  <p:cmAuthor id="3" name="Aleksandra Pusica" initials="AP" lastIdx="44" clrIdx="1"/>
  <p:cmAuthor id="4" name="Valerie Stehling" initials="VS" lastIdx="32" clrIdx="2"/>
  <p:cmAuthor id="5" name="Nina Schiffeler" initials="NS" lastIdx="1" clrIdx="3"/>
  <p:cmAuthor id="6" name="Yasemin Gülez" initials="YG" lastIdx="4" clrIdx="4">
    <p:extLst>
      <p:ext uri="{19B8F6BF-5375-455C-9EA6-DF929625EA0E}">
        <p15:presenceInfo xmlns:p15="http://schemas.microsoft.com/office/powerpoint/2012/main" userId="S-1-5-21-1957124611-379390125-2798390094-33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6767"/>
    <a:srgbClr val="D3D3D1"/>
    <a:srgbClr val="B9E246"/>
    <a:srgbClr val="7B982E"/>
    <a:srgbClr val="98C01C"/>
    <a:srgbClr val="585858"/>
    <a:srgbClr val="A7C742"/>
    <a:srgbClr val="3171C4"/>
    <a:srgbClr val="637F13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00" autoAdjust="0"/>
    <p:restoredTop sz="91541" autoAdjust="0"/>
  </p:normalViewPr>
  <p:slideViewPr>
    <p:cSldViewPr>
      <p:cViewPr varScale="1">
        <p:scale>
          <a:sx n="116" d="100"/>
          <a:sy n="116" d="100"/>
        </p:scale>
        <p:origin x="84" y="144"/>
      </p:cViewPr>
      <p:guideLst>
        <p:guide orient="horz" pos="2160"/>
        <p:guide pos="610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3552" y="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B5FAB5-283B-4E22-B1F0-E2062C08EC1A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F0D6CA6-77F6-451E-8D50-0ADBBB4665D0}">
      <dgm:prSet phldrT="[Text]" custT="1"/>
      <dgm:spPr/>
      <dgm:t>
        <a:bodyPr/>
        <a:lstStyle/>
        <a:p>
          <a:r>
            <a:rPr lang="de-DE" sz="1600" b="1" dirty="0" smtClean="0"/>
            <a:t>Zeitpunkt a</a:t>
          </a:r>
          <a:endParaRPr lang="de-DE" sz="1600" b="1" dirty="0"/>
        </a:p>
      </dgm:t>
    </dgm:pt>
    <dgm:pt modelId="{DC06A5D1-8964-4F41-8824-FB46DE348B03}" type="parTrans" cxnId="{404F438D-FAAD-4D44-9633-2E35AFAFD67E}">
      <dgm:prSet/>
      <dgm:spPr/>
      <dgm:t>
        <a:bodyPr/>
        <a:lstStyle/>
        <a:p>
          <a:endParaRPr lang="de-DE"/>
        </a:p>
      </dgm:t>
    </dgm:pt>
    <dgm:pt modelId="{93D3F86F-A7F4-4BDC-ABA0-30D5399A8DD3}" type="sibTrans" cxnId="{404F438D-FAAD-4D44-9633-2E35AFAFD67E}">
      <dgm:prSet/>
      <dgm:spPr/>
      <dgm:t>
        <a:bodyPr/>
        <a:lstStyle/>
        <a:p>
          <a:endParaRPr lang="de-DE"/>
        </a:p>
      </dgm:t>
    </dgm:pt>
    <dgm:pt modelId="{286D077F-9F45-48B6-B322-A0AB583F3002}">
      <dgm:prSet phldrT="[Text]" custT="1"/>
      <dgm:spPr/>
      <dgm:t>
        <a:bodyPr/>
        <a:lstStyle/>
        <a:p>
          <a:r>
            <a:rPr lang="de-DE" sz="1600" b="1" dirty="0" smtClean="0"/>
            <a:t>Zeitpunkt b</a:t>
          </a:r>
          <a:endParaRPr lang="de-DE" sz="1600" b="1" dirty="0"/>
        </a:p>
      </dgm:t>
    </dgm:pt>
    <dgm:pt modelId="{EB5F0787-A1F7-41EB-904F-EB7AABDB97F6}" type="parTrans" cxnId="{B06A539F-BC53-4D14-8871-EA714315F1E6}">
      <dgm:prSet/>
      <dgm:spPr/>
      <dgm:t>
        <a:bodyPr/>
        <a:lstStyle/>
        <a:p>
          <a:endParaRPr lang="de-DE"/>
        </a:p>
      </dgm:t>
    </dgm:pt>
    <dgm:pt modelId="{9B8056E8-B211-4861-9ED0-DFB64937CAFF}" type="sibTrans" cxnId="{B06A539F-BC53-4D14-8871-EA714315F1E6}">
      <dgm:prSet/>
      <dgm:spPr/>
      <dgm:t>
        <a:bodyPr/>
        <a:lstStyle/>
        <a:p>
          <a:endParaRPr lang="de-DE"/>
        </a:p>
      </dgm:t>
    </dgm:pt>
    <dgm:pt modelId="{5925BED4-1165-4C38-B642-CCA0331D2AC4}">
      <dgm:prSet phldrT="[Text]" custT="1"/>
      <dgm:spPr/>
      <dgm:t>
        <a:bodyPr/>
        <a:lstStyle/>
        <a:p>
          <a:r>
            <a:rPr lang="de-DE" sz="1600" b="1" dirty="0" smtClean="0"/>
            <a:t>Zeitpunkt c</a:t>
          </a:r>
          <a:endParaRPr lang="de-DE" sz="1600" b="1" dirty="0"/>
        </a:p>
      </dgm:t>
    </dgm:pt>
    <dgm:pt modelId="{E63319C2-719D-4694-B41B-65706E7D3275}" type="parTrans" cxnId="{EADA6F21-05F3-41EC-BB6B-52D13937E88D}">
      <dgm:prSet/>
      <dgm:spPr/>
      <dgm:t>
        <a:bodyPr/>
        <a:lstStyle/>
        <a:p>
          <a:endParaRPr lang="de-DE"/>
        </a:p>
      </dgm:t>
    </dgm:pt>
    <dgm:pt modelId="{483355BC-D29E-4F7E-A608-09BC05AB1676}" type="sibTrans" cxnId="{EADA6F21-05F3-41EC-BB6B-52D13937E88D}">
      <dgm:prSet/>
      <dgm:spPr/>
      <dgm:t>
        <a:bodyPr/>
        <a:lstStyle/>
        <a:p>
          <a:endParaRPr lang="de-DE"/>
        </a:p>
      </dgm:t>
    </dgm:pt>
    <dgm:pt modelId="{2A0E6C19-3F4E-41F8-A5A7-5BF183E3664F}">
      <dgm:prSet phldrT="[Text]" custT="1"/>
      <dgm:spPr/>
      <dgm:t>
        <a:bodyPr/>
        <a:lstStyle/>
        <a:p>
          <a:r>
            <a:rPr lang="de-DE" sz="1600" b="1" dirty="0" smtClean="0"/>
            <a:t>Zeitpunkt d</a:t>
          </a:r>
          <a:endParaRPr lang="de-DE" sz="1600" b="1" dirty="0"/>
        </a:p>
      </dgm:t>
    </dgm:pt>
    <dgm:pt modelId="{0E4A83D9-A14E-4EBA-B0AE-C0BFBD4A18FC}" type="parTrans" cxnId="{B4AA02C5-A987-4F4C-9443-C2A289761839}">
      <dgm:prSet/>
      <dgm:spPr/>
      <dgm:t>
        <a:bodyPr/>
        <a:lstStyle/>
        <a:p>
          <a:endParaRPr lang="de-DE"/>
        </a:p>
      </dgm:t>
    </dgm:pt>
    <dgm:pt modelId="{DE913A6E-C5ED-47CB-9930-9397369DB9F0}" type="sibTrans" cxnId="{B4AA02C5-A987-4F4C-9443-C2A289761839}">
      <dgm:prSet/>
      <dgm:spPr/>
      <dgm:t>
        <a:bodyPr/>
        <a:lstStyle/>
        <a:p>
          <a:endParaRPr lang="de-DE"/>
        </a:p>
      </dgm:t>
    </dgm:pt>
    <dgm:pt modelId="{728371A9-AC02-4138-AEE2-C914C6E6C630}">
      <dgm:prSet phldrT="[Text]" custT="1"/>
      <dgm:spPr/>
      <dgm:t>
        <a:bodyPr/>
        <a:lstStyle/>
        <a:p>
          <a:r>
            <a:rPr lang="de-DE" sz="1600" b="1" dirty="0" smtClean="0"/>
            <a:t>Zeitpunkt e</a:t>
          </a:r>
          <a:endParaRPr lang="de-DE" sz="1600" b="1" dirty="0"/>
        </a:p>
      </dgm:t>
    </dgm:pt>
    <dgm:pt modelId="{33EFF083-BFBC-4E7B-BDFE-36DE1B5E7608}" type="parTrans" cxnId="{A2595135-A597-488C-89FD-FCB172FC0ACC}">
      <dgm:prSet/>
      <dgm:spPr/>
      <dgm:t>
        <a:bodyPr/>
        <a:lstStyle/>
        <a:p>
          <a:endParaRPr lang="de-DE"/>
        </a:p>
      </dgm:t>
    </dgm:pt>
    <dgm:pt modelId="{D04EC548-F897-4A98-B35E-D9C3D0B748C4}" type="sibTrans" cxnId="{A2595135-A597-488C-89FD-FCB172FC0ACC}">
      <dgm:prSet/>
      <dgm:spPr/>
      <dgm:t>
        <a:bodyPr/>
        <a:lstStyle/>
        <a:p>
          <a:endParaRPr lang="de-DE"/>
        </a:p>
      </dgm:t>
    </dgm:pt>
    <dgm:pt modelId="{15DF5846-AD91-42E5-9576-CE9B6935E6FF}" type="pres">
      <dgm:prSet presAssocID="{88B5FAB5-283B-4E22-B1F0-E2062C08EC1A}" presName="Name0" presStyleCnt="0">
        <dgm:presLayoutVars>
          <dgm:dir/>
          <dgm:animLvl val="lvl"/>
          <dgm:resizeHandles val="exact"/>
        </dgm:presLayoutVars>
      </dgm:prSet>
      <dgm:spPr/>
    </dgm:pt>
    <dgm:pt modelId="{1A08C496-4243-4407-95A5-3FDD298D3462}" type="pres">
      <dgm:prSet presAssocID="{9F0D6CA6-77F6-451E-8D50-0ADBBB4665D0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E1E0401-453D-4036-820C-FE8D754F45AE}" type="pres">
      <dgm:prSet presAssocID="{93D3F86F-A7F4-4BDC-ABA0-30D5399A8DD3}" presName="parTxOnlySpace" presStyleCnt="0"/>
      <dgm:spPr/>
    </dgm:pt>
    <dgm:pt modelId="{284F737A-74AD-4349-8367-F067F6E0F3D3}" type="pres">
      <dgm:prSet presAssocID="{286D077F-9F45-48B6-B322-A0AB583F3002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842C85B-291E-4873-B752-C9E01D970012}" type="pres">
      <dgm:prSet presAssocID="{9B8056E8-B211-4861-9ED0-DFB64937CAFF}" presName="parTxOnlySpace" presStyleCnt="0"/>
      <dgm:spPr/>
    </dgm:pt>
    <dgm:pt modelId="{C0B0A000-7E2E-4685-9A3C-394287AC30EE}" type="pres">
      <dgm:prSet presAssocID="{5925BED4-1165-4C38-B642-CCA0331D2AC4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D705577-74B3-4720-B620-BC9CCF72010D}" type="pres">
      <dgm:prSet presAssocID="{483355BC-D29E-4F7E-A608-09BC05AB1676}" presName="parTxOnlySpace" presStyleCnt="0"/>
      <dgm:spPr/>
    </dgm:pt>
    <dgm:pt modelId="{A38E3278-635E-4B2A-92AA-43629D0FC570}" type="pres">
      <dgm:prSet presAssocID="{2A0E6C19-3F4E-41F8-A5A7-5BF183E3664F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433C5E5-0D5E-48F9-883C-74317BE09D50}" type="pres">
      <dgm:prSet presAssocID="{DE913A6E-C5ED-47CB-9930-9397369DB9F0}" presName="parTxOnlySpace" presStyleCnt="0"/>
      <dgm:spPr/>
    </dgm:pt>
    <dgm:pt modelId="{8048E6D9-8804-4F31-B80C-A1CADA806277}" type="pres">
      <dgm:prSet presAssocID="{728371A9-AC02-4138-AEE2-C914C6E6C630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2B23B7F-D45C-4012-A250-7EC80621B6A8}" type="presOf" srcId="{9F0D6CA6-77F6-451E-8D50-0ADBBB4665D0}" destId="{1A08C496-4243-4407-95A5-3FDD298D3462}" srcOrd="0" destOrd="0" presId="urn:microsoft.com/office/officeart/2005/8/layout/chevron1"/>
    <dgm:cxn modelId="{1279FB86-E484-4390-8D78-E3BDA35E7643}" type="presOf" srcId="{2A0E6C19-3F4E-41F8-A5A7-5BF183E3664F}" destId="{A38E3278-635E-4B2A-92AA-43629D0FC570}" srcOrd="0" destOrd="0" presId="urn:microsoft.com/office/officeart/2005/8/layout/chevron1"/>
    <dgm:cxn modelId="{76902417-E578-4692-985A-A8CB349316A7}" type="presOf" srcId="{5925BED4-1165-4C38-B642-CCA0331D2AC4}" destId="{C0B0A000-7E2E-4685-9A3C-394287AC30EE}" srcOrd="0" destOrd="0" presId="urn:microsoft.com/office/officeart/2005/8/layout/chevron1"/>
    <dgm:cxn modelId="{A5DD6459-8A49-4CAD-BB1B-7E0EA6069224}" type="presOf" srcId="{286D077F-9F45-48B6-B322-A0AB583F3002}" destId="{284F737A-74AD-4349-8367-F067F6E0F3D3}" srcOrd="0" destOrd="0" presId="urn:microsoft.com/office/officeart/2005/8/layout/chevron1"/>
    <dgm:cxn modelId="{B4AA02C5-A987-4F4C-9443-C2A289761839}" srcId="{88B5FAB5-283B-4E22-B1F0-E2062C08EC1A}" destId="{2A0E6C19-3F4E-41F8-A5A7-5BF183E3664F}" srcOrd="3" destOrd="0" parTransId="{0E4A83D9-A14E-4EBA-B0AE-C0BFBD4A18FC}" sibTransId="{DE913A6E-C5ED-47CB-9930-9397369DB9F0}"/>
    <dgm:cxn modelId="{9FC8D34C-843A-45DC-BE04-D3AABDCAF242}" type="presOf" srcId="{88B5FAB5-283B-4E22-B1F0-E2062C08EC1A}" destId="{15DF5846-AD91-42E5-9576-CE9B6935E6FF}" srcOrd="0" destOrd="0" presId="urn:microsoft.com/office/officeart/2005/8/layout/chevron1"/>
    <dgm:cxn modelId="{EADA6F21-05F3-41EC-BB6B-52D13937E88D}" srcId="{88B5FAB5-283B-4E22-B1F0-E2062C08EC1A}" destId="{5925BED4-1165-4C38-B642-CCA0331D2AC4}" srcOrd="2" destOrd="0" parTransId="{E63319C2-719D-4694-B41B-65706E7D3275}" sibTransId="{483355BC-D29E-4F7E-A608-09BC05AB1676}"/>
    <dgm:cxn modelId="{A2595135-A597-488C-89FD-FCB172FC0ACC}" srcId="{88B5FAB5-283B-4E22-B1F0-E2062C08EC1A}" destId="{728371A9-AC02-4138-AEE2-C914C6E6C630}" srcOrd="4" destOrd="0" parTransId="{33EFF083-BFBC-4E7B-BDFE-36DE1B5E7608}" sibTransId="{D04EC548-F897-4A98-B35E-D9C3D0B748C4}"/>
    <dgm:cxn modelId="{404F438D-FAAD-4D44-9633-2E35AFAFD67E}" srcId="{88B5FAB5-283B-4E22-B1F0-E2062C08EC1A}" destId="{9F0D6CA6-77F6-451E-8D50-0ADBBB4665D0}" srcOrd="0" destOrd="0" parTransId="{DC06A5D1-8964-4F41-8824-FB46DE348B03}" sibTransId="{93D3F86F-A7F4-4BDC-ABA0-30D5399A8DD3}"/>
    <dgm:cxn modelId="{3EF0880A-2B75-4B5A-B709-74A295F2A649}" type="presOf" srcId="{728371A9-AC02-4138-AEE2-C914C6E6C630}" destId="{8048E6D9-8804-4F31-B80C-A1CADA806277}" srcOrd="0" destOrd="0" presId="urn:microsoft.com/office/officeart/2005/8/layout/chevron1"/>
    <dgm:cxn modelId="{B06A539F-BC53-4D14-8871-EA714315F1E6}" srcId="{88B5FAB5-283B-4E22-B1F0-E2062C08EC1A}" destId="{286D077F-9F45-48B6-B322-A0AB583F3002}" srcOrd="1" destOrd="0" parTransId="{EB5F0787-A1F7-41EB-904F-EB7AABDB97F6}" sibTransId="{9B8056E8-B211-4861-9ED0-DFB64937CAFF}"/>
    <dgm:cxn modelId="{FF7150FF-3237-4B3A-BB32-95EE3882B582}" type="presParOf" srcId="{15DF5846-AD91-42E5-9576-CE9B6935E6FF}" destId="{1A08C496-4243-4407-95A5-3FDD298D3462}" srcOrd="0" destOrd="0" presId="urn:microsoft.com/office/officeart/2005/8/layout/chevron1"/>
    <dgm:cxn modelId="{310A321A-E6CA-4D7D-A0C9-17D76A9EAD0E}" type="presParOf" srcId="{15DF5846-AD91-42E5-9576-CE9B6935E6FF}" destId="{7E1E0401-453D-4036-820C-FE8D754F45AE}" srcOrd="1" destOrd="0" presId="urn:microsoft.com/office/officeart/2005/8/layout/chevron1"/>
    <dgm:cxn modelId="{C9EDA1B2-8CB1-47F8-B1B7-AD41E72F5FF8}" type="presParOf" srcId="{15DF5846-AD91-42E5-9576-CE9B6935E6FF}" destId="{284F737A-74AD-4349-8367-F067F6E0F3D3}" srcOrd="2" destOrd="0" presId="urn:microsoft.com/office/officeart/2005/8/layout/chevron1"/>
    <dgm:cxn modelId="{383C3A86-1D0F-49E0-AF72-91D8DE6CE1F8}" type="presParOf" srcId="{15DF5846-AD91-42E5-9576-CE9B6935E6FF}" destId="{2842C85B-291E-4873-B752-C9E01D970012}" srcOrd="3" destOrd="0" presId="urn:microsoft.com/office/officeart/2005/8/layout/chevron1"/>
    <dgm:cxn modelId="{422B6760-7C19-48BE-8FF2-3B7AE6DCBB61}" type="presParOf" srcId="{15DF5846-AD91-42E5-9576-CE9B6935E6FF}" destId="{C0B0A000-7E2E-4685-9A3C-394287AC30EE}" srcOrd="4" destOrd="0" presId="urn:microsoft.com/office/officeart/2005/8/layout/chevron1"/>
    <dgm:cxn modelId="{6B243093-46FF-42E8-A984-C497E76AA2CC}" type="presParOf" srcId="{15DF5846-AD91-42E5-9576-CE9B6935E6FF}" destId="{0D705577-74B3-4720-B620-BC9CCF72010D}" srcOrd="5" destOrd="0" presId="urn:microsoft.com/office/officeart/2005/8/layout/chevron1"/>
    <dgm:cxn modelId="{F187F27D-23EB-4E6E-80A9-7F8EB2CE2CC9}" type="presParOf" srcId="{15DF5846-AD91-42E5-9576-CE9B6935E6FF}" destId="{A38E3278-635E-4B2A-92AA-43629D0FC570}" srcOrd="6" destOrd="0" presId="urn:microsoft.com/office/officeart/2005/8/layout/chevron1"/>
    <dgm:cxn modelId="{75E542BA-B868-4DAE-BC4E-5295A7A3149F}" type="presParOf" srcId="{15DF5846-AD91-42E5-9576-CE9B6935E6FF}" destId="{0433C5E5-0D5E-48F9-883C-74317BE09D50}" srcOrd="7" destOrd="0" presId="urn:microsoft.com/office/officeart/2005/8/layout/chevron1"/>
    <dgm:cxn modelId="{DF31D218-983E-4D27-BE40-B1B4944471C9}" type="presParOf" srcId="{15DF5846-AD91-42E5-9576-CE9B6935E6FF}" destId="{8048E6D9-8804-4F31-B80C-A1CADA806277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8C496-4243-4407-95A5-3FDD298D3462}">
      <dsp:nvSpPr>
        <dsp:cNvPr id="0" name=""/>
        <dsp:cNvSpPr/>
      </dsp:nvSpPr>
      <dsp:spPr>
        <a:xfrm>
          <a:off x="2276" y="43233"/>
          <a:ext cx="2026178" cy="81047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/>
            <a:t>Zeitpunkt a</a:t>
          </a:r>
          <a:endParaRPr lang="de-DE" sz="1600" b="1" kern="1200" dirty="0"/>
        </a:p>
      </dsp:txBody>
      <dsp:txXfrm>
        <a:off x="407512" y="43233"/>
        <a:ext cx="1215707" cy="810471"/>
      </dsp:txXfrm>
    </dsp:sp>
    <dsp:sp modelId="{284F737A-74AD-4349-8367-F067F6E0F3D3}">
      <dsp:nvSpPr>
        <dsp:cNvPr id="0" name=""/>
        <dsp:cNvSpPr/>
      </dsp:nvSpPr>
      <dsp:spPr>
        <a:xfrm>
          <a:off x="1825837" y="43233"/>
          <a:ext cx="2026178" cy="81047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/>
            <a:t>Zeitpunkt b</a:t>
          </a:r>
          <a:endParaRPr lang="de-DE" sz="1600" b="1" kern="1200" dirty="0"/>
        </a:p>
      </dsp:txBody>
      <dsp:txXfrm>
        <a:off x="2231073" y="43233"/>
        <a:ext cx="1215707" cy="810471"/>
      </dsp:txXfrm>
    </dsp:sp>
    <dsp:sp modelId="{C0B0A000-7E2E-4685-9A3C-394287AC30EE}">
      <dsp:nvSpPr>
        <dsp:cNvPr id="0" name=""/>
        <dsp:cNvSpPr/>
      </dsp:nvSpPr>
      <dsp:spPr>
        <a:xfrm>
          <a:off x="3649398" y="43233"/>
          <a:ext cx="2026178" cy="81047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/>
            <a:t>Zeitpunkt c</a:t>
          </a:r>
          <a:endParaRPr lang="de-DE" sz="1600" b="1" kern="1200" dirty="0"/>
        </a:p>
      </dsp:txBody>
      <dsp:txXfrm>
        <a:off x="4054634" y="43233"/>
        <a:ext cx="1215707" cy="810471"/>
      </dsp:txXfrm>
    </dsp:sp>
    <dsp:sp modelId="{A38E3278-635E-4B2A-92AA-43629D0FC570}">
      <dsp:nvSpPr>
        <dsp:cNvPr id="0" name=""/>
        <dsp:cNvSpPr/>
      </dsp:nvSpPr>
      <dsp:spPr>
        <a:xfrm>
          <a:off x="5472958" y="43233"/>
          <a:ext cx="2026178" cy="81047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/>
            <a:t>Zeitpunkt d</a:t>
          </a:r>
          <a:endParaRPr lang="de-DE" sz="1600" b="1" kern="1200" dirty="0"/>
        </a:p>
      </dsp:txBody>
      <dsp:txXfrm>
        <a:off x="5878194" y="43233"/>
        <a:ext cx="1215707" cy="810471"/>
      </dsp:txXfrm>
    </dsp:sp>
    <dsp:sp modelId="{8048E6D9-8804-4F31-B80C-A1CADA806277}">
      <dsp:nvSpPr>
        <dsp:cNvPr id="0" name=""/>
        <dsp:cNvSpPr/>
      </dsp:nvSpPr>
      <dsp:spPr>
        <a:xfrm>
          <a:off x="7296519" y="43233"/>
          <a:ext cx="2026178" cy="81047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/>
            <a:t>Zeitpunkt e</a:t>
          </a:r>
          <a:endParaRPr lang="de-DE" sz="1600" b="1" kern="1200" dirty="0"/>
        </a:p>
      </dsp:txBody>
      <dsp:txXfrm>
        <a:off x="7701755" y="43233"/>
        <a:ext cx="1215707" cy="81047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8C3DF2-FF8E-4F1E-AA13-BE0D135D2361}" type="datetimeFigureOut">
              <a:rPr lang="de-DE" smtClean="0"/>
              <a:t>11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55FEEC-EDBF-4749-8E87-85393F6FE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2022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AFCBBE-7735-4585-8129-379D4DCE7DFB}" type="datetimeFigureOut">
              <a:rPr lang="de-DE" smtClean="0"/>
              <a:t>11.1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AF20F9-3CA1-4C58-A035-9DF378BEA88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518525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(Whiteboard-Sharing durch Moderator): 1 min </a:t>
            </a:r>
            <a:r>
              <a:rPr lang="de-DE" dirty="0" err="1"/>
              <a:t>Vorstellungs</a:t>
            </a:r>
            <a:r>
              <a:rPr lang="de-DE" dirty="0"/>
              <a:t> pro TN, Moderator sammelt Infos auf </a:t>
            </a:r>
            <a:r>
              <a:rPr lang="de-DE" dirty="0" err="1"/>
              <a:t>geshartem</a:t>
            </a:r>
            <a:r>
              <a:rPr lang="de-DE" dirty="0"/>
              <a:t> Whiteboard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53110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55815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58320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9202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17403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25281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0173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52919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Nutzung von Breakout-Sessions, Vorlage Customer Journey 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31170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Nutzung von Breakout-Sessions, Vorlage Customer Journey 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111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Bildschirm-Sharing durch Moderator, Vorlage Ideen-Matrix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1679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de-DE" b="1" dirty="0" smtClean="0">
                <a:solidFill>
                  <a:schemeClr val="tx1"/>
                </a:solidFill>
              </a:rPr>
              <a:t>‘‘Gamification </a:t>
            </a:r>
            <a:r>
              <a:rPr lang="de-DE" b="1" dirty="0" err="1" smtClean="0">
                <a:solidFill>
                  <a:schemeClr val="tx1"/>
                </a:solidFill>
              </a:rPr>
              <a:t>is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the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addition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of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game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mechanics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and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experience</a:t>
            </a:r>
            <a:r>
              <a:rPr lang="de-DE" b="1" dirty="0" smtClean="0">
                <a:solidFill>
                  <a:schemeClr val="tx1"/>
                </a:solidFill>
              </a:rPr>
              <a:t> design [</a:t>
            </a:r>
            <a:r>
              <a:rPr lang="de-DE" b="1" dirty="0" err="1" smtClean="0">
                <a:solidFill>
                  <a:schemeClr val="tx1"/>
                </a:solidFill>
              </a:rPr>
              <a:t>to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existing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processes</a:t>
            </a:r>
            <a:r>
              <a:rPr lang="de-DE" b="1" dirty="0" smtClean="0">
                <a:solidFill>
                  <a:schemeClr val="tx1"/>
                </a:solidFill>
              </a:rPr>
              <a:t>] in </a:t>
            </a:r>
            <a:r>
              <a:rPr lang="de-DE" b="1" dirty="0" err="1" smtClean="0">
                <a:solidFill>
                  <a:schemeClr val="tx1"/>
                </a:solidFill>
              </a:rPr>
              <a:t>order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to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digitally</a:t>
            </a:r>
            <a:r>
              <a:rPr lang="de-DE" b="1" dirty="0" smtClean="0">
                <a:solidFill>
                  <a:schemeClr val="tx1"/>
                </a:solidFill>
              </a:rPr>
              <a:t> [</a:t>
            </a:r>
            <a:r>
              <a:rPr lang="de-DE" b="1" dirty="0" err="1" smtClean="0">
                <a:solidFill>
                  <a:schemeClr val="tx1"/>
                </a:solidFill>
              </a:rPr>
              <a:t>or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analogousely</a:t>
            </a:r>
            <a:r>
              <a:rPr lang="de-DE" b="1" dirty="0" smtClean="0">
                <a:solidFill>
                  <a:schemeClr val="tx1"/>
                </a:solidFill>
              </a:rPr>
              <a:t>] </a:t>
            </a:r>
            <a:r>
              <a:rPr lang="de-DE" b="1" dirty="0" err="1" smtClean="0">
                <a:solidFill>
                  <a:schemeClr val="tx1"/>
                </a:solidFill>
              </a:rPr>
              <a:t>engage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and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motivate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people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to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achieve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their</a:t>
            </a:r>
            <a:r>
              <a:rPr lang="de-DE" b="1" dirty="0" smtClean="0">
                <a:solidFill>
                  <a:schemeClr val="tx1"/>
                </a:solidFill>
              </a:rPr>
              <a:t> </a:t>
            </a:r>
            <a:r>
              <a:rPr lang="de-DE" b="1" dirty="0" err="1" smtClean="0">
                <a:solidFill>
                  <a:schemeClr val="tx1"/>
                </a:solidFill>
              </a:rPr>
              <a:t>goals</a:t>
            </a:r>
            <a:r>
              <a:rPr lang="de-DE" b="1" dirty="0" smtClean="0">
                <a:solidFill>
                  <a:schemeClr val="tx1"/>
                </a:solidFill>
              </a:rPr>
              <a:t>.“ </a:t>
            </a:r>
          </a:p>
          <a:p>
            <a:pPr algn="ctr"/>
            <a:r>
              <a:rPr lang="de-DE" b="1" dirty="0" smtClean="0">
                <a:solidFill>
                  <a:schemeClr val="tx1"/>
                </a:solidFill>
              </a:rPr>
              <a:t>(Burke &amp; Gartner, 2014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smtClean="0"/>
              <a:t>Gamification</a:t>
            </a:r>
            <a:r>
              <a:rPr lang="de-DE" baseline="0" dirty="0" smtClean="0"/>
              <a:t> = Hinzufügen von spielerischen Elementen (werden auf Folie 20 tiefergehend erläutert) auf bestehende Prozesse wie Lehrveranstaltungen (Nutzung von Charakteristika eines Spiels zur höheren Motivation der Beschäftigung mit einem Lerninhalt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baseline="0" dirty="0" smtClean="0">
                <a:sym typeface="Wingdings" panose="05000000000000000000" pitchFamily="2" charset="2"/>
              </a:rPr>
              <a:t>“</a:t>
            </a:r>
            <a:r>
              <a:rPr lang="de-DE" baseline="0" dirty="0" err="1" smtClean="0">
                <a:sym typeface="Wingdings" panose="05000000000000000000" pitchFamily="2" charset="2"/>
              </a:rPr>
              <a:t>applicatio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gam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mechanic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a non-game </a:t>
            </a:r>
            <a:r>
              <a:rPr lang="de-DE" baseline="0" dirty="0" err="1" smtClean="0">
                <a:sym typeface="Wingdings" panose="05000000000000000000" pitchFamily="2" charset="2"/>
              </a:rPr>
              <a:t>activity</a:t>
            </a:r>
            <a:r>
              <a:rPr lang="de-DE" baseline="0" dirty="0" smtClean="0">
                <a:sym typeface="Wingdings" panose="05000000000000000000" pitchFamily="2" charset="2"/>
              </a:rPr>
              <a:t>“ (http://www.theknowledgeguru.com/gamification-vs-game-based-learning/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baseline="0" dirty="0" smtClean="0">
                <a:sym typeface="Wingdings" panose="05000000000000000000" pitchFamily="2" charset="2"/>
              </a:rPr>
              <a:t>Spielen (&amp; Entertainment sind nicht vorrangiges Ziel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de-DE" baseline="0" dirty="0" smtClean="0"/>
              <a:t>Game-</a:t>
            </a:r>
            <a:r>
              <a:rPr lang="de-DE" baseline="0" dirty="0" err="1" smtClean="0"/>
              <a:t>Based</a:t>
            </a:r>
            <a:r>
              <a:rPr lang="de-DE" baseline="0" dirty="0" smtClean="0"/>
              <a:t> Learning = zu Lernzwecken entwickelte Spiele, die eine Wissensvermehrung/die Vermittlung von Lerninhalten zum Ziel haben (Nutzung von Spielen zum Lernen)</a:t>
            </a:r>
          </a:p>
          <a:p>
            <a:endParaRPr lang="de-DE" dirty="0" smtClean="0"/>
          </a:p>
          <a:p>
            <a:r>
              <a:rPr lang="de-DE" dirty="0" smtClean="0"/>
              <a:t>Wenn wir über Gamification, also </a:t>
            </a:r>
            <a:r>
              <a:rPr lang="de-DE" dirty="0" err="1" smtClean="0"/>
              <a:t>Spielifizierung</a:t>
            </a:r>
            <a:r>
              <a:rPr lang="de-DE" dirty="0" smtClean="0"/>
              <a:t> sprechen, müssen wir klären, was ein </a:t>
            </a:r>
            <a:r>
              <a:rPr lang="de-DE" b="1" u="sng" dirty="0" smtClean="0"/>
              <a:t>Spiel</a:t>
            </a:r>
            <a:r>
              <a:rPr lang="de-DE" dirty="0" smtClean="0"/>
              <a:t> ist.</a:t>
            </a:r>
          </a:p>
          <a:p>
            <a:r>
              <a:rPr lang="de-DE" dirty="0" smtClean="0"/>
              <a:t>Hier eine Definition des dänischen Professors Jesper </a:t>
            </a:r>
            <a:r>
              <a:rPr lang="de-DE" dirty="0" err="1" smtClean="0"/>
              <a:t>Juul</a:t>
            </a:r>
            <a:r>
              <a:rPr lang="de-DE" dirty="0" smtClean="0"/>
              <a:t> (nicht der deutsche Erziehungswissenschaftler!), die für digitale und analoge Games gilt und heute sehr weit verbreitet ist.</a:t>
            </a:r>
          </a:p>
          <a:p>
            <a:pPr>
              <a:lnSpc>
                <a:spcPct val="150000"/>
              </a:lnSpc>
              <a:buClr>
                <a:srgbClr val="90C33E"/>
              </a:buClr>
            </a:pPr>
            <a:r>
              <a:rPr lang="de-DE" b="1" dirty="0" smtClean="0">
                <a:solidFill>
                  <a:schemeClr val="tx1"/>
                </a:solidFill>
              </a:rPr>
              <a:t>-Regeln</a:t>
            </a:r>
            <a:r>
              <a:rPr lang="de-DE" dirty="0" smtClean="0">
                <a:solidFill>
                  <a:schemeClr val="tx1"/>
                </a:solidFill>
              </a:rPr>
              <a:t>: Spiele sind regelbasiert.</a:t>
            </a:r>
          </a:p>
          <a:p>
            <a:pPr>
              <a:lnSpc>
                <a:spcPct val="150000"/>
              </a:lnSpc>
              <a:buClr>
                <a:srgbClr val="90C33E"/>
              </a:buClr>
            </a:pPr>
            <a:r>
              <a:rPr lang="de-DE" dirty="0" smtClean="0">
                <a:solidFill>
                  <a:schemeClr val="tx1"/>
                </a:solidFill>
              </a:rPr>
              <a:t>-Verschiedene </a:t>
            </a:r>
            <a:r>
              <a:rPr lang="de-DE" b="1" dirty="0" smtClean="0">
                <a:solidFill>
                  <a:schemeClr val="tx1"/>
                </a:solidFill>
              </a:rPr>
              <a:t>Resultate</a:t>
            </a:r>
            <a:r>
              <a:rPr lang="de-DE" dirty="0" smtClean="0">
                <a:solidFill>
                  <a:schemeClr val="tx1"/>
                </a:solidFill>
              </a:rPr>
              <a:t>: am Ende bzw. im Verlauf eines Spiels sind verschiedene Szenarien möglich.</a:t>
            </a:r>
          </a:p>
          <a:p>
            <a:pPr>
              <a:lnSpc>
                <a:spcPct val="150000"/>
              </a:lnSpc>
              <a:buClr>
                <a:srgbClr val="90C33E"/>
              </a:buClr>
            </a:pPr>
            <a:r>
              <a:rPr lang="de-DE" dirty="0" smtClean="0">
                <a:solidFill>
                  <a:schemeClr val="tx1"/>
                </a:solidFill>
              </a:rPr>
              <a:t>-Diese </a:t>
            </a:r>
            <a:r>
              <a:rPr lang="de-DE" b="1" dirty="0" smtClean="0">
                <a:solidFill>
                  <a:schemeClr val="tx1"/>
                </a:solidFill>
              </a:rPr>
              <a:t>Szenarien</a:t>
            </a:r>
            <a:r>
              <a:rPr lang="de-DE" dirty="0" smtClean="0">
                <a:solidFill>
                  <a:schemeClr val="tx1"/>
                </a:solidFill>
              </a:rPr>
              <a:t> sind positiver oder negativer Natur: es gibt im Spiel wünschenswerte und weniger wünschenswerte Ereignisse.</a:t>
            </a:r>
          </a:p>
          <a:p>
            <a:pPr>
              <a:lnSpc>
                <a:spcPct val="150000"/>
              </a:lnSpc>
              <a:buClr>
                <a:srgbClr val="90C33E"/>
              </a:buClr>
            </a:pPr>
            <a:r>
              <a:rPr lang="de-DE" dirty="0" smtClean="0">
                <a:solidFill>
                  <a:schemeClr val="tx1"/>
                </a:solidFill>
              </a:rPr>
              <a:t>-Spieler-</a:t>
            </a:r>
            <a:r>
              <a:rPr lang="de-DE" b="1" dirty="0" smtClean="0">
                <a:solidFill>
                  <a:schemeClr val="tx1"/>
                </a:solidFill>
              </a:rPr>
              <a:t>Engagement</a:t>
            </a:r>
            <a:r>
              <a:rPr lang="de-DE" dirty="0" smtClean="0">
                <a:solidFill>
                  <a:schemeClr val="tx1"/>
                </a:solidFill>
              </a:rPr>
              <a:t>: Die Spielenden geben ihr bestes, um das Resultat zu beeinflussen.</a:t>
            </a:r>
          </a:p>
          <a:p>
            <a:pPr>
              <a:lnSpc>
                <a:spcPct val="150000"/>
              </a:lnSpc>
              <a:buClr>
                <a:srgbClr val="90C33E"/>
              </a:buClr>
            </a:pPr>
            <a:r>
              <a:rPr lang="de-DE" dirty="0" smtClean="0">
                <a:solidFill>
                  <a:schemeClr val="tx1"/>
                </a:solidFill>
              </a:rPr>
              <a:t>-Emotionale Bindung: Der Sieger des Spiels sollte sich freuen, der Verlierer sich ärgern.</a:t>
            </a:r>
          </a:p>
          <a:p>
            <a:pPr>
              <a:lnSpc>
                <a:spcPct val="150000"/>
              </a:lnSpc>
              <a:buClr>
                <a:srgbClr val="90C33E"/>
              </a:buClr>
            </a:pPr>
            <a:r>
              <a:rPr lang="de-DE" dirty="0" smtClean="0">
                <a:solidFill>
                  <a:schemeClr val="tx1"/>
                </a:solidFill>
              </a:rPr>
              <a:t>-Verhandelbare </a:t>
            </a:r>
            <a:r>
              <a:rPr lang="de-DE" b="1" dirty="0" smtClean="0">
                <a:solidFill>
                  <a:schemeClr val="tx1"/>
                </a:solidFill>
              </a:rPr>
              <a:t>Konsequenzen</a:t>
            </a:r>
            <a:r>
              <a:rPr lang="de-DE" dirty="0" smtClean="0">
                <a:solidFill>
                  <a:schemeClr val="tx1"/>
                </a:solidFill>
              </a:rPr>
              <a:t> eines Spiels: Die Spielenden legen fest, welche Konsequenzen das Resultat des Spiels haben wird.</a:t>
            </a:r>
          </a:p>
          <a:p>
            <a:pPr marL="0" indent="0">
              <a:lnSpc>
                <a:spcPct val="150000"/>
              </a:lnSpc>
              <a:buClr>
                <a:srgbClr val="90C33E"/>
              </a:buClr>
              <a:buNone/>
            </a:pPr>
            <a:endParaRPr lang="de-DE" sz="1050" dirty="0" smtClean="0">
              <a:solidFill>
                <a:schemeClr val="tx1"/>
              </a:solidFill>
            </a:endParaRPr>
          </a:p>
          <a:p>
            <a:pPr marL="0" indent="0">
              <a:lnSpc>
                <a:spcPct val="150000"/>
              </a:lnSpc>
              <a:buClr>
                <a:srgbClr val="90C33E"/>
              </a:buClr>
              <a:buNone/>
            </a:pPr>
            <a:r>
              <a:rPr lang="de-DE" sz="1050" dirty="0" smtClean="0">
                <a:solidFill>
                  <a:schemeClr val="tx1"/>
                </a:solidFill>
              </a:rPr>
              <a:t>(</a:t>
            </a:r>
            <a:r>
              <a:rPr lang="de-DE" sz="1050" dirty="0" err="1" smtClean="0">
                <a:solidFill>
                  <a:schemeClr val="tx1"/>
                </a:solidFill>
              </a:rPr>
              <a:t>Juul</a:t>
            </a:r>
            <a:r>
              <a:rPr lang="de-DE" sz="1050" dirty="0" smtClean="0">
                <a:solidFill>
                  <a:schemeClr val="tx1"/>
                </a:solidFill>
              </a:rPr>
              <a:t>, 2003)</a:t>
            </a:r>
            <a:endParaRPr lang="de-DE" sz="1050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29042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Bildschirm-Sharing durch Moderator, Vorlage Ideen-Matrix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8235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78109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8368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ldschirm-Sharing der </a:t>
            </a:r>
            <a:r>
              <a:rPr lang="de-DE" dirty="0" err="1"/>
              <a:t>Kahoot</a:t>
            </a:r>
            <a:r>
              <a:rPr lang="de-DE" dirty="0"/>
              <a:t>-Spielseite, </a:t>
            </a:r>
            <a:r>
              <a:rPr lang="de-DE" dirty="0" err="1"/>
              <a:t>Kahoot</a:t>
            </a:r>
            <a:r>
              <a:rPr lang="de-DE" dirty="0"/>
              <a:t>-Game-PIN für TN</a:t>
            </a:r>
          </a:p>
          <a:p>
            <a:endParaRPr lang="de-DE" dirty="0"/>
          </a:p>
          <a:p>
            <a:r>
              <a:rPr lang="de-DE" dirty="0"/>
              <a:t>Moderator: </a:t>
            </a:r>
            <a:r>
              <a:rPr lang="de-DE" dirty="0" err="1"/>
              <a:t>sharing</a:t>
            </a:r>
            <a:r>
              <a:rPr lang="de-DE" dirty="0"/>
              <a:t> des Bildschirms, auf dem </a:t>
            </a:r>
            <a:r>
              <a:rPr lang="de-DE" dirty="0" err="1"/>
              <a:t>Kahoot</a:t>
            </a:r>
            <a:r>
              <a:rPr lang="de-DE" dirty="0"/>
              <a:t> (inkl. Fragen) für alle Spieler angezeigt wird</a:t>
            </a:r>
          </a:p>
          <a:p>
            <a:r>
              <a:rPr lang="de-DE" dirty="0"/>
              <a:t>TN: Nutzen Smartphones/Tablets (o.Ä.) zum „Spielen“</a:t>
            </a:r>
          </a:p>
          <a:p>
            <a:endParaRPr lang="de-DE" dirty="0"/>
          </a:p>
          <a:p>
            <a:r>
              <a:rPr lang="de-DE" dirty="0"/>
              <a:t>Ausprobieren von </a:t>
            </a:r>
            <a:r>
              <a:rPr lang="de-DE" dirty="0" err="1"/>
              <a:t>Kahoot</a:t>
            </a:r>
            <a:r>
              <a:rPr lang="de-DE" dirty="0"/>
              <a:t>.</a:t>
            </a:r>
          </a:p>
          <a:p>
            <a:r>
              <a:rPr lang="de-DE" sz="900" b="1" dirty="0"/>
              <a:t>https://play.kahoot.it/#/k/a87ce7cb-5be1-4443-8c47-c77a248b0108</a:t>
            </a:r>
          </a:p>
          <a:p>
            <a:r>
              <a:rPr lang="de-DE" dirty="0"/>
              <a:t>Nennung von Beispielen. Hiernach folgt die Frage, ob es sich jeweils um Gamification handelt.</a:t>
            </a:r>
          </a:p>
          <a:p>
            <a:r>
              <a:rPr lang="de-DE" dirty="0"/>
              <a:t>Danach fragen, wie den TN </a:t>
            </a:r>
            <a:r>
              <a:rPr lang="de-DE" dirty="0" err="1"/>
              <a:t>Kahoot</a:t>
            </a:r>
            <a:r>
              <a:rPr lang="de-DE" dirty="0"/>
              <a:t> gefallen hat und wo/wie</a:t>
            </a:r>
            <a:r>
              <a:rPr lang="de-DE" baseline="0" dirty="0"/>
              <a:t> sie sich den Einsatz vorstellen könnte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56762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ldschirm-Sharing der </a:t>
            </a:r>
            <a:r>
              <a:rPr lang="de-DE" dirty="0" err="1"/>
              <a:t>Kahoot</a:t>
            </a:r>
            <a:r>
              <a:rPr lang="de-DE" dirty="0"/>
              <a:t>-Spielseite, </a:t>
            </a:r>
            <a:r>
              <a:rPr lang="de-DE" dirty="0" err="1"/>
              <a:t>Kahoot</a:t>
            </a:r>
            <a:r>
              <a:rPr lang="de-DE" dirty="0"/>
              <a:t>-Game-PIN für TN</a:t>
            </a:r>
          </a:p>
          <a:p>
            <a:endParaRPr lang="de-DE" dirty="0"/>
          </a:p>
          <a:p>
            <a:r>
              <a:rPr lang="de-DE" dirty="0"/>
              <a:t>Moderator: </a:t>
            </a:r>
            <a:r>
              <a:rPr lang="de-DE" dirty="0" err="1"/>
              <a:t>sharing</a:t>
            </a:r>
            <a:r>
              <a:rPr lang="de-DE" dirty="0"/>
              <a:t> des Bildschirms, auf dem </a:t>
            </a:r>
            <a:r>
              <a:rPr lang="de-DE" dirty="0" err="1"/>
              <a:t>Kahoot</a:t>
            </a:r>
            <a:r>
              <a:rPr lang="de-DE" dirty="0"/>
              <a:t> (inkl. Fragen) für alle Spieler angezeigt wird</a:t>
            </a:r>
          </a:p>
          <a:p>
            <a:r>
              <a:rPr lang="de-DE" dirty="0"/>
              <a:t>TN: Nutzen Smartphones/Tablets (o.Ä.) zum „Spielen“</a:t>
            </a:r>
          </a:p>
          <a:p>
            <a:endParaRPr lang="de-DE" dirty="0"/>
          </a:p>
          <a:p>
            <a:r>
              <a:rPr lang="de-DE" dirty="0"/>
              <a:t>Ausprobieren von </a:t>
            </a:r>
            <a:r>
              <a:rPr lang="de-DE" dirty="0" err="1"/>
              <a:t>Kahoot</a:t>
            </a:r>
            <a:r>
              <a:rPr lang="de-DE" dirty="0"/>
              <a:t>.</a:t>
            </a:r>
          </a:p>
          <a:p>
            <a:r>
              <a:rPr lang="de-DE" sz="900" b="1" dirty="0"/>
              <a:t>https://play.kahoot.it/#/k/a87ce7cb-5be1-4443-8c47-c77a248b0108</a:t>
            </a:r>
          </a:p>
          <a:p>
            <a:r>
              <a:rPr lang="de-DE" dirty="0"/>
              <a:t>Nennung von Beispielen. Hiernach folgt die Frage, ob es sich jeweils um Gamification handelt.</a:t>
            </a:r>
          </a:p>
          <a:p>
            <a:r>
              <a:rPr lang="de-DE" dirty="0"/>
              <a:t>Danach fragen, wie den TN </a:t>
            </a:r>
            <a:r>
              <a:rPr lang="de-DE" dirty="0" err="1"/>
              <a:t>Kahoot</a:t>
            </a:r>
            <a:r>
              <a:rPr lang="de-DE" dirty="0"/>
              <a:t> gefallen hat und wo/wie</a:t>
            </a:r>
            <a:r>
              <a:rPr lang="de-DE" baseline="0" dirty="0"/>
              <a:t> sie sich den Einsatz vorstellen könnte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63873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ldschirm-Sharing der </a:t>
            </a:r>
            <a:r>
              <a:rPr lang="de-DE" dirty="0" err="1"/>
              <a:t>Kahoot</a:t>
            </a:r>
            <a:r>
              <a:rPr lang="de-DE" dirty="0"/>
              <a:t>-Spielseite, </a:t>
            </a:r>
            <a:r>
              <a:rPr lang="de-DE" dirty="0" err="1"/>
              <a:t>Kahoot</a:t>
            </a:r>
            <a:r>
              <a:rPr lang="de-DE" dirty="0"/>
              <a:t>-Game-PIN für TN</a:t>
            </a:r>
          </a:p>
          <a:p>
            <a:endParaRPr lang="de-DE" dirty="0"/>
          </a:p>
          <a:p>
            <a:r>
              <a:rPr lang="de-DE" dirty="0"/>
              <a:t>Moderator: </a:t>
            </a:r>
            <a:r>
              <a:rPr lang="de-DE" dirty="0" err="1"/>
              <a:t>sharing</a:t>
            </a:r>
            <a:r>
              <a:rPr lang="de-DE" dirty="0"/>
              <a:t> des Bildschirms, auf dem </a:t>
            </a:r>
            <a:r>
              <a:rPr lang="de-DE" dirty="0" err="1"/>
              <a:t>Kahoot</a:t>
            </a:r>
            <a:r>
              <a:rPr lang="de-DE" dirty="0"/>
              <a:t> (inkl. Fragen) für alle Spieler angezeigt wird</a:t>
            </a:r>
          </a:p>
          <a:p>
            <a:r>
              <a:rPr lang="de-DE" dirty="0"/>
              <a:t>TN: Nutzen Smartphones/Tablets (o.Ä.) zum „Spielen“</a:t>
            </a:r>
          </a:p>
          <a:p>
            <a:endParaRPr lang="de-DE" dirty="0"/>
          </a:p>
          <a:p>
            <a:r>
              <a:rPr lang="de-DE" dirty="0"/>
              <a:t>Ausprobieren von </a:t>
            </a:r>
            <a:r>
              <a:rPr lang="de-DE" dirty="0" err="1"/>
              <a:t>Kahoot</a:t>
            </a:r>
            <a:r>
              <a:rPr lang="de-DE" dirty="0"/>
              <a:t>.</a:t>
            </a:r>
          </a:p>
          <a:p>
            <a:r>
              <a:rPr lang="de-DE" sz="900" b="1" dirty="0"/>
              <a:t>https://play.kahoot.it/#/k/a87ce7cb-5be1-4443-8c47-c77a248b0108</a:t>
            </a:r>
          </a:p>
          <a:p>
            <a:r>
              <a:rPr lang="de-DE" dirty="0"/>
              <a:t>Nennung von Beispielen. Hiernach folgt die Frage, ob es sich jeweils um Gamification handelt.</a:t>
            </a:r>
          </a:p>
          <a:p>
            <a:r>
              <a:rPr lang="de-DE" dirty="0"/>
              <a:t>Danach fragen, wie den TN </a:t>
            </a:r>
            <a:r>
              <a:rPr lang="de-DE" dirty="0" err="1"/>
              <a:t>Kahoot</a:t>
            </a:r>
            <a:r>
              <a:rPr lang="de-DE" dirty="0"/>
              <a:t> gefallen hat und wo/wie</a:t>
            </a:r>
            <a:r>
              <a:rPr lang="de-DE" baseline="0" dirty="0"/>
              <a:t> sie sich den Einsatz vorstellen könnte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33152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46288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752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tif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tiff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2132856"/>
            <a:ext cx="6552729" cy="602405"/>
          </a:xfr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ITEL DER VERANSTALTUNG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464152" y="2106515"/>
            <a:ext cx="0" cy="1565675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2708920"/>
            <a:ext cx="6552729" cy="864095"/>
          </a:xfrm>
        </p:spPr>
        <p:txBody>
          <a:bodyPr wrap="square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xtra Info</a:t>
            </a:r>
          </a:p>
        </p:txBody>
      </p:sp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pic>
        <p:nvPicPr>
          <p:cNvPr id="12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092" y="2314586"/>
            <a:ext cx="3240360" cy="1109351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8151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5520615" cy="636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23846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6240695" cy="3486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39879" y="620728"/>
            <a:ext cx="7008781" cy="360000"/>
          </a:xfrm>
        </p:spPr>
        <p:txBody>
          <a:bodyPr>
            <a:noAutofit/>
          </a:bodyPr>
          <a:lstStyle>
            <a:lvl1pPr marL="0" indent="0">
              <a:buNone/>
              <a:defRPr sz="17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</p:spTree>
    <p:extLst>
      <p:ext uri="{BB962C8B-B14F-4D97-AF65-F5344CB8AC3E}">
        <p14:creationId xmlns:p14="http://schemas.microsoft.com/office/powerpoint/2010/main" val="3971766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5520615" cy="636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Rechteck 4"/>
          <p:cNvSpPr/>
          <p:nvPr userDrawn="1"/>
        </p:nvSpPr>
        <p:spPr>
          <a:xfrm>
            <a:off x="1" y="0"/>
            <a:ext cx="4943871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63525" y="200025"/>
            <a:ext cx="4537075" cy="60261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07775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541605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52330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/>
          </p:nvPr>
        </p:nvSpPr>
        <p:spPr>
          <a:xfrm>
            <a:off x="6096000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696862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1631504" y="2816312"/>
            <a:ext cx="3450754" cy="33492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7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0" dirty="0">
                <a:solidFill>
                  <a:schemeClr val="accent2"/>
                </a:solidFill>
              </a:rPr>
              <a:t>http://www.elli-online.net/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1631503" y="3251047"/>
            <a:ext cx="4142749" cy="321969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me des Moderators</a:t>
            </a:r>
            <a:endParaRPr lang="de-DE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1631503" y="3613618"/>
            <a:ext cx="4142749" cy="321969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mail</a:t>
            </a:r>
            <a:endParaRPr lang="de-DE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1631503" y="3971127"/>
            <a:ext cx="4142749" cy="32196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n</a:t>
            </a:r>
            <a:endParaRPr lang="de-DE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1604978" y="2391089"/>
            <a:ext cx="56720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VIELEN DANK FÜR IHRE AUFMERKSAMKEIT!</a:t>
            </a:r>
          </a:p>
        </p:txBody>
      </p:sp>
      <p:pic>
        <p:nvPicPr>
          <p:cNvPr id="12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6" y="2696371"/>
            <a:ext cx="3240360" cy="1109351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112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00" y="1152000"/>
            <a:ext cx="11424000" cy="252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000" b="1" i="0"/>
            </a:lvl1pPr>
            <a:lvl2pPr marL="216000" indent="180000">
              <a:buClr>
                <a:schemeClr val="tx2"/>
              </a:buClr>
              <a:defRPr sz="1800"/>
            </a:lvl2pPr>
            <a:lvl3pPr marL="432000" indent="180000">
              <a:buClr>
                <a:schemeClr val="tx2"/>
              </a:buClr>
              <a:buFont typeface="Symbol" panose="05050102010706020507" pitchFamily="18" charset="2"/>
              <a:buChar char="-"/>
              <a:defRPr sz="1600"/>
            </a:lvl3pPr>
            <a:lvl4pPr marL="648000" indent="180000">
              <a:buClr>
                <a:schemeClr val="tx2"/>
              </a:buClr>
              <a:buFont typeface="Wingdings" panose="05000000000000000000" pitchFamily="2" charset="2"/>
              <a:buChar char="§"/>
              <a:defRPr sz="1600"/>
            </a:lvl4pPr>
            <a:lvl5pPr marL="864000" indent="180000">
              <a:buClr>
                <a:schemeClr val="tx2"/>
              </a:buClr>
              <a:buFont typeface="Arial" panose="020B0604020202020204" pitchFamily="34" charset="0"/>
              <a:buChar char="-"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83118" y="1684801"/>
            <a:ext cx="11425767" cy="37512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36284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4" y="922339"/>
            <a:ext cx="11533717" cy="4962525"/>
          </a:xfrm>
          <a:prstGeom prst="rect">
            <a:avLst/>
          </a:prstGeom>
        </p:spPr>
        <p:txBody>
          <a:bodyPr/>
          <a:lstStyle>
            <a:lvl1pPr marL="227013" indent="-2270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Wingdings" charset="2"/>
              <a:buChar char="§"/>
              <a:tabLst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65113" indent="-1762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49263" indent="-1397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627063" indent="-177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0000"/>
              <a:buFont typeface="Symbol" panose="05050102010706020507" pitchFamily="18" charset="2"/>
              <a:buChar char="-"/>
              <a:defRPr sz="16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Erste Ebene (Ohne Zeich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422250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323851" y="922338"/>
            <a:ext cx="11544300" cy="51546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046956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 dirty="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27111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1518" y="6351"/>
            <a:ext cx="11516783" cy="620713"/>
          </a:xfrm>
        </p:spPr>
        <p:txBody>
          <a:bodyPr/>
          <a:lstStyle>
            <a:lvl1pPr>
              <a:defRPr sz="2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96333" y="1025526"/>
            <a:ext cx="5655733" cy="5000625"/>
          </a:xfrm>
        </p:spPr>
        <p:txBody>
          <a:bodyPr/>
          <a:lstStyle>
            <a:lvl2pPr>
              <a:buClr>
                <a:srgbClr val="8EBAE5"/>
              </a:buClr>
              <a:defRPr/>
            </a:lvl2pPr>
            <a:lvl3pPr>
              <a:buClr>
                <a:srgbClr val="C2C7C7"/>
              </a:buClr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55267" y="1025526"/>
            <a:ext cx="5657851" cy="50006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483932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92D050"/>
              </a:buClr>
              <a:defRPr>
                <a:solidFill>
                  <a:srgbClr val="4D4D4D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rgbClr val="4D4D4D"/>
                </a:solidFill>
              </a:defRPr>
            </a:lvl2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4" name="Rectangle 2"/>
          <p:cNvSpPr txBox="1">
            <a:spLocks noChangeArrowheads="1"/>
          </p:cNvSpPr>
          <p:nvPr userDrawn="1"/>
        </p:nvSpPr>
        <p:spPr>
          <a:xfrm>
            <a:off x="305943" y="444537"/>
            <a:ext cx="10963252" cy="620713"/>
          </a:xfrm>
          <a:prstGeom prst="rect">
            <a:avLst/>
          </a:prstGeom>
        </p:spPr>
        <p:txBody>
          <a:bodyPr vert="horz" wrap="square" lIns="1800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None/>
              <a:defRPr sz="1800" b="0" i="0" u="none" kern="1200" cap="none" spc="0" baseline="0">
                <a:solidFill>
                  <a:srgbClr val="0055A1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  <a:buClr>
                <a:srgbClr val="92D050"/>
              </a:buClr>
              <a:buSzPct val="100000"/>
            </a:pPr>
            <a:endParaRPr lang="en-US" dirty="0">
              <a:solidFill>
                <a:srgbClr val="8CB9E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63525" y="548692"/>
            <a:ext cx="11017251" cy="55562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8CB9E3"/>
                </a:solidFill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143340" y="6237328"/>
            <a:ext cx="8976997" cy="226657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3B18B-D139-4864-AE91-16ECF2125E4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0194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36341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 dirty="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8D946FE3-53B1-4055-B963-8C3A97A97E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</p:spTree>
    <p:extLst>
      <p:ext uri="{BB962C8B-B14F-4D97-AF65-F5344CB8AC3E}">
        <p14:creationId xmlns:p14="http://schemas.microsoft.com/office/powerpoint/2010/main" val="2713516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Pictur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15880" y="1628800"/>
            <a:ext cx="6768752" cy="1470025"/>
          </a:xfrm>
        </p:spPr>
        <p:txBody>
          <a:bodyPr/>
          <a:lstStyle>
            <a:lvl1pPr algn="r">
              <a:defRPr sz="200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15879" y="3212976"/>
            <a:ext cx="6768752" cy="1752600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2642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perPictur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1" cy="335699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407368" y="3429000"/>
            <a:ext cx="11377264" cy="864096"/>
          </a:xfrm>
        </p:spPr>
        <p:txBody>
          <a:bodyPr/>
          <a:lstStyle>
            <a:lvl1pPr algn="r">
              <a:defRPr sz="200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407368" y="4365104"/>
            <a:ext cx="11377262" cy="1896616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74545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nitt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1" cy="335699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407368" y="2420888"/>
            <a:ext cx="11377264" cy="864096"/>
          </a:xfrm>
        </p:spPr>
        <p:txBody>
          <a:bodyPr/>
          <a:lstStyle>
            <a:lvl1pPr algn="r">
              <a:defRPr sz="20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407368" y="3501008"/>
            <a:ext cx="11377262" cy="2760712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34359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1628800"/>
            <a:ext cx="11377264" cy="1470025"/>
          </a:xfrm>
        </p:spPr>
        <p:txBody>
          <a:bodyPr/>
          <a:lstStyle>
            <a:lvl1pPr algn="r">
              <a:defRPr sz="200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7368" y="3212976"/>
            <a:ext cx="11377262" cy="1752600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136597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2564904"/>
            <a:ext cx="11377264" cy="1470025"/>
          </a:xfrm>
        </p:spPr>
        <p:txBody>
          <a:bodyPr/>
          <a:lstStyle>
            <a:lvl1pPr algn="r">
              <a:defRPr sz="3200" b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05052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5" y="3356992"/>
            <a:ext cx="115570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034223" y="4437112"/>
            <a:ext cx="115570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1628800"/>
            <a:ext cx="11377264" cy="1470025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200" b="0" i="0" u="none" kern="1200" cap="all" spc="0"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351583" y="3454151"/>
            <a:ext cx="7416825" cy="1752600"/>
          </a:xfrm>
        </p:spPr>
        <p:txBody>
          <a:bodyPr anchor="ctr">
            <a:normAutofit/>
          </a:bodyPr>
          <a:lstStyle>
            <a:lvl1pPr marL="0" indent="0" algn="just">
              <a:lnSpc>
                <a:spcPct val="150000"/>
              </a:lnSpc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</a:t>
            </a:r>
          </a:p>
          <a:p>
            <a:r>
              <a:rPr lang="de-DE" dirty="0"/>
              <a:t>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02651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5" name="Abgerundetes Rechteck 3"/>
          <p:cNvSpPr/>
          <p:nvPr userDrawn="1"/>
        </p:nvSpPr>
        <p:spPr bwMode="auto">
          <a:xfrm>
            <a:off x="0" y="0"/>
            <a:ext cx="3875341" cy="6856328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  <a:alpha val="54118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 dirty="0">
              <a:solidFill>
                <a:schemeClr val="accent2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154928" y="200014"/>
            <a:ext cx="3576397" cy="360040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INHALTSVERZEICHNI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141945" y="760068"/>
            <a:ext cx="3589380" cy="5688013"/>
          </a:xfrm>
        </p:spPr>
        <p:txBody>
          <a:bodyPr/>
          <a:lstStyle>
            <a:lvl1pPr>
              <a:lnSpc>
                <a:spcPct val="100000"/>
              </a:lnSpc>
              <a:buFont typeface="+mj-lt"/>
              <a:buAutoNum type="arabicPeriod"/>
              <a:defRPr sz="1600" cap="none"/>
            </a:lvl1pPr>
            <a:lvl2pPr marL="800100" indent="-342900">
              <a:lnSpc>
                <a:spcPct val="100000"/>
              </a:lnSpc>
              <a:buFont typeface="+mj-lt"/>
              <a:buAutoNum type="arabicPeriod"/>
              <a:defRPr sz="1300"/>
            </a:lvl2pPr>
          </a:lstStyle>
          <a:p>
            <a:pPr>
              <a:lnSpc>
                <a:spcPct val="160000"/>
              </a:lnSpc>
            </a:pPr>
            <a:r>
              <a:rPr lang="de-DE" cap="all" dirty="0"/>
              <a:t>Textmaster</a:t>
            </a:r>
          </a:p>
          <a:p>
            <a:pPr lvl="1">
              <a:lnSpc>
                <a:spcPct val="160000"/>
              </a:lnSpc>
            </a:pPr>
            <a:r>
              <a:rPr lang="de-DE" cap="all" dirty="0"/>
              <a:t>ZWEITE EBENE</a:t>
            </a:r>
          </a:p>
          <a:p>
            <a:pPr lvl="1">
              <a:lnSpc>
                <a:spcPct val="160000"/>
              </a:lnSpc>
            </a:pPr>
            <a:r>
              <a:rPr lang="de-DE" cap="all" dirty="0"/>
              <a:t>ZWEITE EBENE 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2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3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4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5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6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7</a:t>
            </a:r>
          </a:p>
        </p:txBody>
      </p:sp>
    </p:spTree>
    <p:extLst>
      <p:ext uri="{BB962C8B-B14F-4D97-AF65-F5344CB8AC3E}">
        <p14:creationId xmlns:p14="http://schemas.microsoft.com/office/powerpoint/2010/main" val="10105077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tif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3339" y="1031359"/>
            <a:ext cx="11905323" cy="47525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Bild 4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631" y="219539"/>
            <a:ext cx="1224025" cy="419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9416" y="6400458"/>
            <a:ext cx="6912768" cy="34091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baseline="0" dirty="0">
                <a:solidFill>
                  <a:schemeClr val="tx2"/>
                </a:solidFill>
              </a:rPr>
              <a:t>Gamification &amp; Mixed Reality für </a:t>
            </a:r>
            <a:r>
              <a:rPr lang="de-DE" altLang="de-DE" sz="900" baseline="0" dirty="0" smtClean="0">
                <a:solidFill>
                  <a:schemeClr val="tx2"/>
                </a:solidFill>
              </a:rPr>
              <a:t>Lehrende</a:t>
            </a:r>
            <a:r>
              <a:rPr lang="de-DE" altLang="de-DE" sz="900" dirty="0" smtClean="0">
                <a:solidFill>
                  <a:schemeClr val="tx2"/>
                </a:solidFill>
              </a:rPr>
              <a:t> | www.elli-online.net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sp>
        <p:nvSpPr>
          <p:cNvPr id="20" name="Textfeld 13"/>
          <p:cNvSpPr txBox="1">
            <a:spLocks noChangeArrowheads="1"/>
          </p:cNvSpPr>
          <p:nvPr userDrawn="1"/>
        </p:nvSpPr>
        <p:spPr bwMode="auto">
          <a:xfrm>
            <a:off x="239490" y="6395965"/>
            <a:ext cx="455910" cy="34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2CF1B3F8-141B-491B-AA28-890D0601D8BD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Nr.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063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54" r:id="rId2"/>
    <p:sldLayoutId id="2147483649" r:id="rId3"/>
    <p:sldLayoutId id="2147483651" r:id="rId4"/>
    <p:sldLayoutId id="2147483702" r:id="rId5"/>
    <p:sldLayoutId id="2147483699" r:id="rId6"/>
    <p:sldLayoutId id="2147483705" r:id="rId7"/>
    <p:sldLayoutId id="2147483662" r:id="rId8"/>
    <p:sldLayoutId id="2147483700" r:id="rId9"/>
    <p:sldLayoutId id="2147483708" r:id="rId10"/>
    <p:sldLayoutId id="2147483701" r:id="rId11"/>
    <p:sldLayoutId id="2147483706" r:id="rId12"/>
    <p:sldLayoutId id="2147483655" r:id="rId13"/>
    <p:sldLayoutId id="2147483691" r:id="rId14"/>
    <p:sldLayoutId id="2147483704" r:id="rId15"/>
    <p:sldLayoutId id="2147483703" r:id="rId16"/>
    <p:sldLayoutId id="2147483709" r:id="rId17"/>
    <p:sldLayoutId id="2147483710" r:id="rId18"/>
    <p:sldLayoutId id="2147483711" r:id="rId19"/>
    <p:sldLayoutId id="2147483715" r:id="rId20"/>
    <p:sldLayoutId id="2147483719" r:id="rId21"/>
    <p:sldLayoutId id="2147483720" r:id="rId22"/>
    <p:sldLayoutId id="2147483721" r:id="rId23"/>
  </p:sldLayoutIdLst>
  <p:hf hdr="0" dt="0"/>
  <p:txStyles>
    <p:titleStyle>
      <a:lvl1pPr marL="0" indent="0" algn="l" defTabSz="914400" rtl="0" eaLnBrk="1" latinLnBrk="0" hangingPunct="1">
        <a:lnSpc>
          <a:spcPct val="110000"/>
        </a:lnSpc>
        <a:spcBef>
          <a:spcPct val="0"/>
        </a:spcBef>
        <a:spcAft>
          <a:spcPts val="0"/>
        </a:spcAft>
        <a:buNone/>
        <a:defRPr sz="2000" b="0" i="0" u="none" kern="1200" cap="small" spc="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10" Type="http://schemas.openxmlformats.org/officeDocument/2006/relationships/image" Target="../media/image46.jpeg"/><Relationship Id="rId4" Type="http://schemas.openxmlformats.org/officeDocument/2006/relationships/image" Target="../media/image40.png"/><Relationship Id="rId9" Type="http://schemas.openxmlformats.org/officeDocument/2006/relationships/image" Target="../media/image4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10" Type="http://schemas.openxmlformats.org/officeDocument/2006/relationships/image" Target="../media/image48.jpeg"/><Relationship Id="rId4" Type="http://schemas.openxmlformats.org/officeDocument/2006/relationships/image" Target="../media/image40.png"/><Relationship Id="rId9" Type="http://schemas.openxmlformats.org/officeDocument/2006/relationships/image" Target="../media/image47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hyperlink" Target="mailto:p4@ima-zlw-ifu.rwth-aachen.de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hyperlink" Target="mailto:p3@ima-zlw-ifu.rwth-aachen.de" TargetMode="External"/><Relationship Id="rId5" Type="http://schemas.openxmlformats.org/officeDocument/2006/relationships/hyperlink" Target="mailto:p2@ima-zlw-ifu.rwth-aachen.de" TargetMode="External"/><Relationship Id="rId4" Type="http://schemas.openxmlformats.org/officeDocument/2006/relationships/hyperlink" Target="mailto:p1@ima-zlw-ifu.rwth-aachen.de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sites.google.com/view/ellidigitalescape04/startseite" TargetMode="External"/><Relationship Id="rId3" Type="http://schemas.openxmlformats.org/officeDocument/2006/relationships/image" Target="../media/image28.png"/><Relationship Id="rId7" Type="http://schemas.openxmlformats.org/officeDocument/2006/relationships/hyperlink" Target="https://sites.google.com/view/ellidigitalescape03/startseite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sites.google.com/view/ellidigitalescape02/startseite" TargetMode="External"/><Relationship Id="rId5" Type="http://schemas.openxmlformats.org/officeDocument/2006/relationships/hyperlink" Target="https://sites.google.com/view/ellidigitalescape01/startseite" TargetMode="External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623392" y="2564904"/>
            <a:ext cx="6552729" cy="602405"/>
          </a:xfrm>
        </p:spPr>
        <p:txBody>
          <a:bodyPr/>
          <a:lstStyle/>
          <a:p>
            <a:r>
              <a:rPr lang="de-DE" sz="2800" b="1" dirty="0" smtClean="0"/>
              <a:t>Herzlich Willkommen zum Gamification-Training!</a:t>
            </a:r>
          </a:p>
          <a:p>
            <a:endParaRPr lang="de-DE" sz="1200" b="1" dirty="0"/>
          </a:p>
          <a:p>
            <a:r>
              <a:rPr lang="de-DE" sz="2800" dirty="0" smtClean="0"/>
              <a:t>Schön, dass Sie da sind! Wir starten gemeinsam um 13Uhr.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1590918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4012" y="2201808"/>
            <a:ext cx="2666011" cy="201622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3557" flipH="1">
            <a:off x="5439259" y="3301810"/>
            <a:ext cx="2443248" cy="1832436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mificatio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Reflexion Digital </a:t>
            </a:r>
            <a:r>
              <a:rPr lang="de-DE" dirty="0" err="1" smtClean="0"/>
              <a:t>Escape</a:t>
            </a:r>
            <a:r>
              <a:rPr lang="de-DE" dirty="0" smtClean="0"/>
              <a:t> </a:t>
            </a:r>
            <a:r>
              <a:rPr lang="de-DE" dirty="0" err="1" smtClean="0"/>
              <a:t>Ro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2113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 </a:t>
            </a:r>
            <a:r>
              <a:rPr lang="de-DE" dirty="0" err="1"/>
              <a:t>Escape</a:t>
            </a:r>
            <a:r>
              <a:rPr lang="de-DE" dirty="0"/>
              <a:t> </a:t>
            </a:r>
            <a:r>
              <a:rPr lang="de-DE" dirty="0" err="1"/>
              <a:t>Room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/>
          <a:srcRect l="8620" r="1361" b="9236"/>
          <a:stretch/>
        </p:blipFill>
        <p:spPr>
          <a:xfrm>
            <a:off x="2639616" y="531608"/>
            <a:ext cx="7958275" cy="57160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808035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 </a:t>
            </a:r>
            <a:r>
              <a:rPr lang="de-DE" dirty="0" err="1"/>
              <a:t>Escape</a:t>
            </a:r>
            <a:r>
              <a:rPr lang="de-DE" dirty="0"/>
              <a:t> </a:t>
            </a:r>
            <a:r>
              <a:rPr lang="de-DE" dirty="0" err="1"/>
              <a:t>Room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7688" y="980728"/>
            <a:ext cx="5353797" cy="5144218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 rot="16200000">
            <a:off x="8112224" y="692696"/>
            <a:ext cx="756000" cy="756000"/>
          </a:xfrm>
          <a:prstGeom prst="rect">
            <a:avLst/>
          </a:prstGeom>
          <a:solidFill>
            <a:srgbClr val="9EC3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30253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 </a:t>
            </a:r>
            <a:r>
              <a:rPr lang="de-DE" dirty="0" err="1"/>
              <a:t>Escape</a:t>
            </a:r>
            <a:r>
              <a:rPr lang="de-DE" dirty="0"/>
              <a:t> </a:t>
            </a:r>
            <a:r>
              <a:rPr lang="de-DE" dirty="0" err="1"/>
              <a:t>Room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96" y="1700808"/>
            <a:ext cx="4858441" cy="346093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92696"/>
            <a:ext cx="7752184" cy="5735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073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 </a:t>
            </a:r>
            <a:r>
              <a:rPr lang="de-DE" dirty="0" err="1"/>
              <a:t>Escape</a:t>
            </a:r>
            <a:r>
              <a:rPr lang="de-DE" dirty="0"/>
              <a:t> </a:t>
            </a:r>
            <a:r>
              <a:rPr lang="de-DE" dirty="0" err="1"/>
              <a:t>Room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/>
          <a:srcRect l="4544" t="3720" r="5276" b="11769"/>
          <a:stretch/>
        </p:blipFill>
        <p:spPr>
          <a:xfrm>
            <a:off x="1919536" y="692696"/>
            <a:ext cx="8136904" cy="5556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5519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 </a:t>
            </a:r>
            <a:r>
              <a:rPr lang="de-DE" dirty="0" err="1"/>
              <a:t>Escape</a:t>
            </a:r>
            <a:r>
              <a:rPr lang="de-DE" dirty="0"/>
              <a:t> </a:t>
            </a:r>
            <a:r>
              <a:rPr lang="de-DE" dirty="0" err="1"/>
              <a:t>Room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8" y="-10228"/>
            <a:ext cx="7831667" cy="685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Sechseck 5"/>
          <p:cNvSpPr/>
          <p:nvPr/>
        </p:nvSpPr>
        <p:spPr>
          <a:xfrm>
            <a:off x="9119468" y="321902"/>
            <a:ext cx="864000" cy="756000"/>
          </a:xfrm>
          <a:prstGeom prst="hexagon">
            <a:avLst/>
          </a:prstGeom>
          <a:solidFill>
            <a:srgbClr val="9EC3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41320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 </a:t>
            </a:r>
            <a:r>
              <a:rPr lang="de-DE" dirty="0" err="1"/>
              <a:t>Escape</a:t>
            </a:r>
            <a:r>
              <a:rPr lang="de-DE" dirty="0"/>
              <a:t> </a:t>
            </a:r>
            <a:r>
              <a:rPr lang="de-DE" dirty="0" err="1"/>
              <a:t>Room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l="9944" t="6220" b="1735"/>
          <a:stretch/>
        </p:blipFill>
        <p:spPr>
          <a:xfrm>
            <a:off x="4223792" y="0"/>
            <a:ext cx="5040560" cy="686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933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mificatio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xperten-Input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3512" y="1198450"/>
            <a:ext cx="5399355" cy="4855428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536160" y="3068960"/>
            <a:ext cx="3744415" cy="11144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de-DE" dirty="0" err="1" smtClean="0"/>
              <a:t>HeatQuiz</a:t>
            </a:r>
            <a:r>
              <a:rPr lang="de-DE" dirty="0" smtClean="0"/>
              <a:t>-App</a:t>
            </a:r>
          </a:p>
          <a:p>
            <a:pPr>
              <a:lnSpc>
                <a:spcPct val="200000"/>
              </a:lnSpc>
            </a:pPr>
            <a:r>
              <a:rPr lang="de-DE" dirty="0" smtClean="0"/>
              <a:t>Wilko Rohlfs (WSA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1076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ustomer Journey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 </a:t>
            </a:r>
            <a:r>
              <a:rPr lang="de-DE" dirty="0" err="1"/>
              <a:t>Thinking</a:t>
            </a:r>
            <a:endParaRPr lang="de-DE" dirty="0"/>
          </a:p>
        </p:txBody>
      </p:sp>
      <p:sp>
        <p:nvSpPr>
          <p:cNvPr id="32" name="Richtungspfeil 31"/>
          <p:cNvSpPr/>
          <p:nvPr/>
        </p:nvSpPr>
        <p:spPr>
          <a:xfrm>
            <a:off x="951525" y="3572408"/>
            <a:ext cx="1620000" cy="1224136"/>
          </a:xfrm>
          <a:prstGeom prst="homePlate">
            <a:avLst/>
          </a:prstGeom>
          <a:solidFill>
            <a:srgbClr val="6767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Chevron 32"/>
          <p:cNvSpPr/>
          <p:nvPr/>
        </p:nvSpPr>
        <p:spPr>
          <a:xfrm>
            <a:off x="2666449" y="3573152"/>
            <a:ext cx="1620000" cy="1224000"/>
          </a:xfrm>
          <a:prstGeom prst="chevron">
            <a:avLst/>
          </a:prstGeom>
          <a:solidFill>
            <a:srgbClr val="637F13"/>
          </a:solidFill>
          <a:ln>
            <a:solidFill>
              <a:srgbClr val="637F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4381373" y="3573152"/>
            <a:ext cx="1620000" cy="1224000"/>
          </a:xfrm>
          <a:prstGeom prst="chevron">
            <a:avLst/>
          </a:prstGeom>
          <a:solidFill>
            <a:srgbClr val="98C01C"/>
          </a:solidFill>
          <a:ln>
            <a:solidFill>
              <a:srgbClr val="98C0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5" name="Chevron 34"/>
          <p:cNvSpPr/>
          <p:nvPr/>
        </p:nvSpPr>
        <p:spPr>
          <a:xfrm>
            <a:off x="6096297" y="3573152"/>
            <a:ext cx="1620000" cy="1224000"/>
          </a:xfrm>
          <a:prstGeom prst="chevron">
            <a:avLst/>
          </a:prstGeom>
          <a:solidFill>
            <a:srgbClr val="B9E246"/>
          </a:solidFill>
          <a:ln>
            <a:solidFill>
              <a:srgbClr val="B9E2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6" name="Chevron 35"/>
          <p:cNvSpPr/>
          <p:nvPr/>
        </p:nvSpPr>
        <p:spPr>
          <a:xfrm>
            <a:off x="7811221" y="3573152"/>
            <a:ext cx="1620000" cy="1224000"/>
          </a:xfrm>
          <a:prstGeom prst="chevron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Chevron 36"/>
          <p:cNvSpPr/>
          <p:nvPr/>
        </p:nvSpPr>
        <p:spPr>
          <a:xfrm>
            <a:off x="9526147" y="3572408"/>
            <a:ext cx="1620000" cy="1224000"/>
          </a:xfrm>
          <a:prstGeom prst="chevron">
            <a:avLst/>
          </a:prstGeom>
          <a:solidFill>
            <a:srgbClr val="676767"/>
          </a:solidFill>
          <a:ln>
            <a:solidFill>
              <a:srgbClr val="6767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948672" y="1791360"/>
            <a:ext cx="3334924" cy="576064"/>
          </a:xfrm>
          <a:prstGeom prst="rect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erstehen</a:t>
            </a:r>
          </a:p>
        </p:txBody>
      </p:sp>
      <p:sp>
        <p:nvSpPr>
          <p:cNvPr id="39" name="Rechteck 38"/>
          <p:cNvSpPr/>
          <p:nvPr/>
        </p:nvSpPr>
        <p:spPr>
          <a:xfrm>
            <a:off x="4378520" y="1791360"/>
            <a:ext cx="3334924" cy="576064"/>
          </a:xfrm>
          <a:prstGeom prst="rect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7808368" y="1791360"/>
            <a:ext cx="3334924" cy="576064"/>
          </a:xfrm>
          <a:prstGeom prst="rect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41" name="Grafik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709" y="2566064"/>
            <a:ext cx="826976" cy="826976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380" y="2565040"/>
            <a:ext cx="828000" cy="828000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075" y="2565040"/>
            <a:ext cx="828000" cy="828000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770" y="2565040"/>
            <a:ext cx="828000" cy="828000"/>
          </a:xfrm>
          <a:prstGeom prst="rect">
            <a:avLst/>
          </a:prstGeom>
        </p:spPr>
      </p:pic>
      <p:pic>
        <p:nvPicPr>
          <p:cNvPr id="45" name="Grafik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465" y="2565040"/>
            <a:ext cx="828000" cy="828000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400" y="2565040"/>
            <a:ext cx="828000" cy="828000"/>
          </a:xfrm>
          <a:prstGeom prst="rect">
            <a:avLst/>
          </a:prstGeom>
        </p:spPr>
      </p:pic>
      <p:sp>
        <p:nvSpPr>
          <p:cNvPr id="47" name="Pfeil nach links 46"/>
          <p:cNvSpPr/>
          <p:nvPr/>
        </p:nvSpPr>
        <p:spPr>
          <a:xfrm>
            <a:off x="2662946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Pfeil nach links 47"/>
          <p:cNvSpPr/>
          <p:nvPr/>
        </p:nvSpPr>
        <p:spPr>
          <a:xfrm>
            <a:off x="4377870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Pfeil nach links 48"/>
          <p:cNvSpPr/>
          <p:nvPr/>
        </p:nvSpPr>
        <p:spPr>
          <a:xfrm>
            <a:off x="6096297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Pfeil nach links 49"/>
          <p:cNvSpPr/>
          <p:nvPr/>
        </p:nvSpPr>
        <p:spPr>
          <a:xfrm>
            <a:off x="7808368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Pfeil nach links 50"/>
          <p:cNvSpPr/>
          <p:nvPr/>
        </p:nvSpPr>
        <p:spPr>
          <a:xfrm>
            <a:off x="9526145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4301073" y="1688972"/>
            <a:ext cx="7056784" cy="3312368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2576115" y="4828030"/>
            <a:ext cx="646393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>
              <a:buClr>
                <a:srgbClr val="90C33E"/>
              </a:buClr>
            </a:pPr>
            <a:endParaRPr lang="de-DE" altLang="de-DE" dirty="0">
              <a:latin typeface="Arial" charset="0"/>
              <a:cs typeface="Arial" charset="0"/>
            </a:endParaRPr>
          </a:p>
          <a:p>
            <a:pPr lvl="1" algn="ctr">
              <a:buClr>
                <a:srgbClr val="90C33E"/>
              </a:buClr>
            </a:pPr>
            <a:r>
              <a:rPr lang="de-DE" altLang="de-DE" dirty="0">
                <a:latin typeface="Arial" charset="0"/>
                <a:cs typeface="Arial" charset="0"/>
                <a:sym typeface="Wingdings" panose="05000000000000000000" pitchFamily="2" charset="2"/>
              </a:rPr>
              <a:t> </a:t>
            </a:r>
            <a:r>
              <a:rPr lang="de-DE" altLang="de-DE" dirty="0">
                <a:latin typeface="Arial" charset="0"/>
                <a:cs typeface="Arial" charset="0"/>
              </a:rPr>
              <a:t>Wie genau laufen Lehr- &amp; Lernprozesse methodisch und inhaltlich in Ihrer Heimatdisziplin ab?</a:t>
            </a:r>
          </a:p>
          <a:p>
            <a:pPr lvl="1" algn="ctr">
              <a:buClr>
                <a:srgbClr val="90C33E"/>
              </a:buClr>
            </a:pPr>
            <a:r>
              <a:rPr lang="de-DE" altLang="de-DE" dirty="0">
                <a:latin typeface="Arial" charset="0"/>
                <a:cs typeface="Arial" charset="0"/>
              </a:rPr>
              <a:t>Was läuft wann nicht optimal? 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1943493"/>
            <a:ext cx="4006200" cy="2670800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5888" y="1943493"/>
            <a:ext cx="3516400" cy="2637300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3495732" y="1147306"/>
            <a:ext cx="51004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ctr">
              <a:buClr>
                <a:srgbClr val="90C33E"/>
              </a:buClr>
            </a:pPr>
            <a:r>
              <a:rPr lang="de-DE" altLang="de-DE" b="1" dirty="0">
                <a:latin typeface="Arial" charset="0"/>
                <a:cs typeface="Arial" charset="0"/>
              </a:rPr>
              <a:t>Wann erlebt der „Kunde“ seine „</a:t>
            </a:r>
            <a:r>
              <a:rPr lang="de-DE" altLang="de-DE" b="1" dirty="0" err="1">
                <a:latin typeface="Arial" charset="0"/>
                <a:cs typeface="Arial" charset="0"/>
              </a:rPr>
              <a:t>Pains</a:t>
            </a:r>
            <a:r>
              <a:rPr lang="de-DE" altLang="de-DE" b="1" dirty="0">
                <a:latin typeface="Arial" charset="0"/>
                <a:cs typeface="Arial" charset="0"/>
              </a:rPr>
              <a:t>“?</a:t>
            </a:r>
          </a:p>
        </p:txBody>
      </p:sp>
    </p:spTree>
    <p:extLst>
      <p:ext uri="{BB962C8B-B14F-4D97-AF65-F5344CB8AC3E}">
        <p14:creationId xmlns:p14="http://schemas.microsoft.com/office/powerpoint/2010/main" val="31885717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Customer Journey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 </a:t>
            </a:r>
            <a:r>
              <a:rPr lang="de-DE" dirty="0" err="1"/>
              <a:t>Thinking</a:t>
            </a:r>
            <a:endParaRPr lang="de-DE" dirty="0"/>
          </a:p>
        </p:txBody>
      </p:sp>
      <p:graphicFrame>
        <p:nvGraphicFramePr>
          <p:cNvPr id="52" name="Inhaltsplatzhalt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26927358"/>
              </p:ext>
            </p:extLst>
          </p:nvPr>
        </p:nvGraphicFramePr>
        <p:xfrm>
          <a:off x="1485900" y="1074042"/>
          <a:ext cx="9324975" cy="8969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4" name="Gerader Verbinder 53"/>
          <p:cNvCxnSpPr/>
          <p:nvPr/>
        </p:nvCxnSpPr>
        <p:spPr>
          <a:xfrm flipV="1">
            <a:off x="1485899" y="4296721"/>
            <a:ext cx="9324975" cy="11330"/>
          </a:xfrm>
          <a:prstGeom prst="line">
            <a:avLst/>
          </a:prstGeom>
          <a:ln w="19050">
            <a:solidFill>
              <a:schemeClr val="tx2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Smiley 54"/>
          <p:cNvSpPr/>
          <p:nvPr/>
        </p:nvSpPr>
        <p:spPr>
          <a:xfrm>
            <a:off x="749823" y="2493101"/>
            <a:ext cx="552450" cy="590550"/>
          </a:xfrm>
          <a:prstGeom prst="smileyFace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56" name="Smiley 55"/>
          <p:cNvSpPr/>
          <p:nvPr/>
        </p:nvSpPr>
        <p:spPr>
          <a:xfrm>
            <a:off x="749823" y="4012776"/>
            <a:ext cx="552450" cy="590550"/>
          </a:xfrm>
          <a:prstGeom prst="smileyFace">
            <a:avLst>
              <a:gd name="adj" fmla="val 217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57" name="Smiley 56"/>
          <p:cNvSpPr/>
          <p:nvPr/>
        </p:nvSpPr>
        <p:spPr>
          <a:xfrm>
            <a:off x="749823" y="5404572"/>
            <a:ext cx="552450" cy="590550"/>
          </a:xfrm>
          <a:prstGeom prst="smileyFace">
            <a:avLst>
              <a:gd name="adj" fmla="val -4653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4511872" y="6226533"/>
            <a:ext cx="432000" cy="40038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Textfeld 58"/>
          <p:cNvSpPr txBox="1"/>
          <p:nvPr/>
        </p:nvSpPr>
        <p:spPr>
          <a:xfrm>
            <a:off x="4943872" y="6257867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Pains</a:t>
            </a:r>
            <a:r>
              <a:rPr lang="de-DE" dirty="0" smtClean="0"/>
              <a:t> (negativ)</a:t>
            </a:r>
            <a:endParaRPr lang="de-DE" dirty="0"/>
          </a:p>
        </p:txBody>
      </p:sp>
      <p:sp>
        <p:nvSpPr>
          <p:cNvPr id="60" name="Sechseck 59"/>
          <p:cNvSpPr/>
          <p:nvPr/>
        </p:nvSpPr>
        <p:spPr>
          <a:xfrm>
            <a:off x="6888096" y="6194490"/>
            <a:ext cx="504000" cy="400382"/>
          </a:xfrm>
          <a:prstGeom prst="hexag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7392096" y="6257867"/>
            <a:ext cx="1836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Gains</a:t>
            </a:r>
            <a:r>
              <a:rPr lang="de-DE" dirty="0" smtClean="0"/>
              <a:t> (positiv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1135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FBBD5-C2F6-481E-94C6-0B8703E9A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DC6DDD2-F20F-4358-83DB-9982FFAD5B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Vorstellungsrunde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B000DA6A-B206-44E0-8CE4-D724914E4606}"/>
              </a:ext>
            </a:extLst>
          </p:cNvPr>
          <p:cNvSpPr txBox="1">
            <a:spLocks/>
          </p:cNvSpPr>
          <p:nvPr/>
        </p:nvSpPr>
        <p:spPr>
          <a:xfrm>
            <a:off x="911424" y="2204864"/>
            <a:ext cx="4896544" cy="324036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1800"/>
              </a:spcAft>
              <a:buClr>
                <a:srgbClr val="97C01E"/>
              </a:buClr>
              <a:buFont typeface="Arial" panose="020B0604020202020204" pitchFamily="34" charset="0"/>
              <a:buChar char="•"/>
              <a:defRPr/>
            </a:pPr>
            <a:r>
              <a:rPr lang="de-DE" sz="2000" dirty="0">
                <a:solidFill>
                  <a:schemeClr val="tx1"/>
                </a:solidFill>
              </a:rPr>
              <a:t>Name</a:t>
            </a:r>
          </a:p>
          <a:p>
            <a:pPr marL="285750" indent="-285750">
              <a:spcBef>
                <a:spcPts val="600"/>
              </a:spcBef>
              <a:spcAft>
                <a:spcPts val="1800"/>
              </a:spcAft>
              <a:buClr>
                <a:srgbClr val="97C01E"/>
              </a:buClr>
              <a:buFont typeface="Arial" panose="020B0604020202020204" pitchFamily="34" charset="0"/>
              <a:buChar char="•"/>
              <a:defRPr/>
            </a:pPr>
            <a:r>
              <a:rPr lang="de-DE" sz="2000" dirty="0">
                <a:solidFill>
                  <a:schemeClr val="tx1"/>
                </a:solidFill>
              </a:rPr>
              <a:t>Fachrichtung</a:t>
            </a:r>
          </a:p>
          <a:p>
            <a:pPr marL="285750" indent="-285750">
              <a:spcBef>
                <a:spcPts val="600"/>
              </a:spcBef>
              <a:spcAft>
                <a:spcPts val="1800"/>
              </a:spcAft>
              <a:buClr>
                <a:srgbClr val="97C01E"/>
              </a:buClr>
              <a:buFont typeface="Arial" panose="020B0604020202020204" pitchFamily="34" charset="0"/>
              <a:buChar char="•"/>
              <a:defRPr/>
            </a:pPr>
            <a:r>
              <a:rPr lang="de-DE" sz="2000" dirty="0">
                <a:solidFill>
                  <a:schemeClr val="tx1"/>
                </a:solidFill>
              </a:rPr>
              <a:t>Bisherige </a:t>
            </a:r>
            <a:r>
              <a:rPr lang="de-DE" sz="2000" dirty="0" smtClean="0">
                <a:solidFill>
                  <a:schemeClr val="tx1"/>
                </a:solidFill>
              </a:rPr>
              <a:t>Erfahrungen mit &amp; Vorstellung von Gamification</a:t>
            </a:r>
            <a:endParaRPr lang="de-DE" sz="20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1800"/>
              </a:spcAft>
              <a:buClr>
                <a:srgbClr val="97C01E"/>
              </a:buClr>
              <a:buFont typeface="Arial" panose="020B0604020202020204" pitchFamily="34" charset="0"/>
              <a:buChar char="•"/>
              <a:defRPr/>
            </a:pPr>
            <a:r>
              <a:rPr lang="de-DE" sz="2000" dirty="0" smtClean="0">
                <a:solidFill>
                  <a:schemeClr val="tx1"/>
                </a:solidFill>
              </a:rPr>
              <a:t>Erwartungen an das Seminar</a:t>
            </a:r>
            <a:endParaRPr lang="de-DE" sz="2000" dirty="0">
              <a:solidFill>
                <a:schemeClr val="tx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981" y="978682"/>
            <a:ext cx="7294932" cy="515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998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deen-Matrix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 </a:t>
            </a:r>
            <a:r>
              <a:rPr lang="de-DE" dirty="0" err="1"/>
              <a:t>Thinking</a:t>
            </a:r>
            <a:endParaRPr lang="de-DE" dirty="0"/>
          </a:p>
        </p:txBody>
      </p:sp>
      <p:sp>
        <p:nvSpPr>
          <p:cNvPr id="32" name="Richtungspfeil 31"/>
          <p:cNvSpPr/>
          <p:nvPr/>
        </p:nvSpPr>
        <p:spPr>
          <a:xfrm>
            <a:off x="951525" y="3572408"/>
            <a:ext cx="1620000" cy="1224136"/>
          </a:xfrm>
          <a:prstGeom prst="homePlate">
            <a:avLst/>
          </a:prstGeom>
          <a:solidFill>
            <a:srgbClr val="6767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Chevron 32"/>
          <p:cNvSpPr/>
          <p:nvPr/>
        </p:nvSpPr>
        <p:spPr>
          <a:xfrm>
            <a:off x="2666449" y="3573152"/>
            <a:ext cx="1620000" cy="1224000"/>
          </a:xfrm>
          <a:prstGeom prst="chevron">
            <a:avLst/>
          </a:prstGeom>
          <a:solidFill>
            <a:srgbClr val="637F13"/>
          </a:solidFill>
          <a:ln>
            <a:solidFill>
              <a:srgbClr val="637F1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4" name="Chevron 33"/>
          <p:cNvSpPr/>
          <p:nvPr/>
        </p:nvSpPr>
        <p:spPr>
          <a:xfrm>
            <a:off x="4381373" y="3573152"/>
            <a:ext cx="1620000" cy="1224000"/>
          </a:xfrm>
          <a:prstGeom prst="chevron">
            <a:avLst/>
          </a:prstGeom>
          <a:solidFill>
            <a:srgbClr val="98C01C"/>
          </a:solidFill>
          <a:ln>
            <a:solidFill>
              <a:srgbClr val="98C0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5" name="Chevron 34"/>
          <p:cNvSpPr/>
          <p:nvPr/>
        </p:nvSpPr>
        <p:spPr>
          <a:xfrm>
            <a:off x="6096297" y="3573152"/>
            <a:ext cx="1620000" cy="1224000"/>
          </a:xfrm>
          <a:prstGeom prst="chevron">
            <a:avLst/>
          </a:prstGeom>
          <a:solidFill>
            <a:srgbClr val="B9E246"/>
          </a:solidFill>
          <a:ln>
            <a:solidFill>
              <a:srgbClr val="B9E2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6" name="Chevron 35"/>
          <p:cNvSpPr/>
          <p:nvPr/>
        </p:nvSpPr>
        <p:spPr>
          <a:xfrm>
            <a:off x="7811221" y="3573152"/>
            <a:ext cx="1620000" cy="1224000"/>
          </a:xfrm>
          <a:prstGeom prst="chevron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7" name="Chevron 36"/>
          <p:cNvSpPr/>
          <p:nvPr/>
        </p:nvSpPr>
        <p:spPr>
          <a:xfrm>
            <a:off x="9526147" y="3572408"/>
            <a:ext cx="1620000" cy="1224000"/>
          </a:xfrm>
          <a:prstGeom prst="chevron">
            <a:avLst/>
          </a:prstGeom>
          <a:solidFill>
            <a:srgbClr val="676767"/>
          </a:solidFill>
          <a:ln>
            <a:solidFill>
              <a:srgbClr val="6767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948672" y="1791360"/>
            <a:ext cx="3334924" cy="576064"/>
          </a:xfrm>
          <a:prstGeom prst="rect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4378520" y="1791360"/>
            <a:ext cx="3334924" cy="576064"/>
          </a:xfrm>
          <a:prstGeom prst="rect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7808368" y="1791360"/>
            <a:ext cx="3334924" cy="576064"/>
          </a:xfrm>
          <a:prstGeom prst="rect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aterialisieren</a:t>
            </a:r>
          </a:p>
        </p:txBody>
      </p:sp>
      <p:pic>
        <p:nvPicPr>
          <p:cNvPr id="41" name="Grafik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709" y="2566064"/>
            <a:ext cx="826976" cy="826976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380" y="2565040"/>
            <a:ext cx="828000" cy="828000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075" y="2565040"/>
            <a:ext cx="828000" cy="828000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770" y="2565040"/>
            <a:ext cx="828000" cy="828000"/>
          </a:xfrm>
          <a:prstGeom prst="rect">
            <a:avLst/>
          </a:prstGeom>
        </p:spPr>
      </p:pic>
      <p:pic>
        <p:nvPicPr>
          <p:cNvPr id="45" name="Grafik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465" y="2565040"/>
            <a:ext cx="828000" cy="828000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6400" y="2565040"/>
            <a:ext cx="828000" cy="828000"/>
          </a:xfrm>
          <a:prstGeom prst="rect">
            <a:avLst/>
          </a:prstGeom>
        </p:spPr>
      </p:pic>
      <p:sp>
        <p:nvSpPr>
          <p:cNvPr id="47" name="Pfeil nach links 46"/>
          <p:cNvSpPr/>
          <p:nvPr/>
        </p:nvSpPr>
        <p:spPr>
          <a:xfrm>
            <a:off x="2662946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Pfeil nach links 47"/>
          <p:cNvSpPr/>
          <p:nvPr/>
        </p:nvSpPr>
        <p:spPr>
          <a:xfrm>
            <a:off x="4377870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Pfeil nach links 48"/>
          <p:cNvSpPr/>
          <p:nvPr/>
        </p:nvSpPr>
        <p:spPr>
          <a:xfrm>
            <a:off x="6096297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Pfeil nach links 49"/>
          <p:cNvSpPr/>
          <p:nvPr/>
        </p:nvSpPr>
        <p:spPr>
          <a:xfrm>
            <a:off x="7808368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Pfeil nach links 50"/>
          <p:cNvSpPr/>
          <p:nvPr/>
        </p:nvSpPr>
        <p:spPr>
          <a:xfrm>
            <a:off x="9526145" y="3963728"/>
            <a:ext cx="363957" cy="432048"/>
          </a:xfrm>
          <a:prstGeom prst="leftArrow">
            <a:avLst/>
          </a:prstGeom>
          <a:solidFill>
            <a:srgbClr val="D3D3D1"/>
          </a:solidFill>
          <a:ln>
            <a:solidFill>
              <a:srgbClr val="D3D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679408" y="1688972"/>
            <a:ext cx="7056784" cy="3312368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3816" y="1764369"/>
            <a:ext cx="4726280" cy="3143469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342" y="1764369"/>
            <a:ext cx="2095646" cy="3143469"/>
          </a:xfrm>
          <a:prstGeom prst="rect">
            <a:avLst/>
          </a:prstGeom>
        </p:spPr>
      </p:pic>
      <p:sp>
        <p:nvSpPr>
          <p:cNvPr id="57" name="Rechteck 56"/>
          <p:cNvSpPr/>
          <p:nvPr/>
        </p:nvSpPr>
        <p:spPr>
          <a:xfrm>
            <a:off x="1667117" y="5024466"/>
            <a:ext cx="875772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>
              <a:buClr>
                <a:srgbClr val="90C33E"/>
              </a:buClr>
            </a:pPr>
            <a:r>
              <a:rPr lang="de-DE" altLang="de-DE" dirty="0">
                <a:latin typeface="Arial" charset="0"/>
                <a:cs typeface="Arial" charset="0"/>
              </a:rPr>
              <a:t>Wie könnte eine exemplarische Idee (bodenständig oder „Dark </a:t>
            </a:r>
            <a:r>
              <a:rPr lang="de-DE" altLang="de-DE" dirty="0" err="1">
                <a:latin typeface="Arial" charset="0"/>
                <a:cs typeface="Arial" charset="0"/>
              </a:rPr>
              <a:t>Horse</a:t>
            </a:r>
            <a:r>
              <a:rPr lang="de-DE" altLang="de-DE" dirty="0">
                <a:latin typeface="Arial" charset="0"/>
                <a:cs typeface="Arial" charset="0"/>
              </a:rPr>
              <a:t>“) umgesetzt werden? Es kann sich hierbei um ein Tool, ein Produkt etc. handeln. </a:t>
            </a:r>
          </a:p>
          <a:p>
            <a:pPr lvl="1" algn="ctr">
              <a:buClr>
                <a:srgbClr val="90C33E"/>
              </a:buClr>
            </a:pPr>
            <a:endParaRPr lang="de-DE" altLang="de-DE" dirty="0">
              <a:latin typeface="Arial" charset="0"/>
              <a:cs typeface="Arial" charset="0"/>
            </a:endParaRPr>
          </a:p>
          <a:p>
            <a:pPr lvl="1" algn="ctr">
              <a:buClr>
                <a:srgbClr val="90C33E"/>
              </a:buClr>
            </a:pPr>
            <a:r>
              <a:rPr lang="de-DE" altLang="de-DE" b="1" dirty="0">
                <a:latin typeface="Arial" charset="0"/>
                <a:cs typeface="Arial" charset="0"/>
              </a:rPr>
              <a:t>Think outside </a:t>
            </a:r>
            <a:r>
              <a:rPr lang="de-DE" altLang="de-DE" b="1" dirty="0" err="1">
                <a:latin typeface="Arial" charset="0"/>
                <a:cs typeface="Arial" charset="0"/>
              </a:rPr>
              <a:t>the</a:t>
            </a:r>
            <a:r>
              <a:rPr lang="de-DE" altLang="de-DE" b="1" dirty="0">
                <a:latin typeface="Arial" charset="0"/>
                <a:cs typeface="Arial" charset="0"/>
              </a:rPr>
              <a:t> box – und entwickeln Sie ein Konzept!</a:t>
            </a:r>
          </a:p>
        </p:txBody>
      </p:sp>
    </p:spTree>
    <p:extLst>
      <p:ext uri="{BB962C8B-B14F-4D97-AF65-F5344CB8AC3E}">
        <p14:creationId xmlns:p14="http://schemas.microsoft.com/office/powerpoint/2010/main" val="512118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deen-Matrix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sign </a:t>
            </a:r>
            <a:r>
              <a:rPr lang="de-DE" dirty="0" err="1"/>
              <a:t>Thinking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679408" y="1688972"/>
            <a:ext cx="7056784" cy="3312368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6945" y="328191"/>
            <a:ext cx="6558110" cy="620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7296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237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FBBD5-C2F6-481E-94C6-0B8703E9A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mifica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DC6DDD2-F20F-4358-83DB-9982FFAD5B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Video-Wiederholung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600" y="1681865"/>
            <a:ext cx="7210556" cy="4386422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839416" y="1034845"/>
            <a:ext cx="102971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„Gamification is the use of game design elements in non-game contexts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“</a:t>
            </a:r>
          </a:p>
          <a:p>
            <a:pPr algn="ctr">
              <a:defRPr/>
            </a:pPr>
            <a:r>
              <a:rPr lang="de-DE" sz="1200" dirty="0"/>
              <a:t>(Burke &amp; Gartner, 2014</a:t>
            </a:r>
            <a:r>
              <a:rPr lang="de-DE" sz="1200" dirty="0" smtClean="0"/>
              <a:t>)</a:t>
            </a:r>
            <a:endParaRPr lang="de-DE" sz="1200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2664" y="3875076"/>
            <a:ext cx="1584176" cy="158417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94319">
            <a:off x="1818782" y="3294134"/>
            <a:ext cx="1828779" cy="182877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25" y="2164347"/>
            <a:ext cx="1287182" cy="1287182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2731" y="2277882"/>
            <a:ext cx="1173647" cy="1173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99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FBBD5-C2F6-481E-94C6-0B8703E9A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mifica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DC6DDD2-F20F-4358-83DB-9982FFAD5B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Video-Wiederholung</a:t>
            </a:r>
            <a:endParaRPr lang="de-DE" dirty="0"/>
          </a:p>
        </p:txBody>
      </p:sp>
      <p:sp>
        <p:nvSpPr>
          <p:cNvPr id="13" name="Ellipse 12"/>
          <p:cNvSpPr/>
          <p:nvPr/>
        </p:nvSpPr>
        <p:spPr>
          <a:xfrm>
            <a:off x="870870" y="1601048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4500074" y="1601048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2685472" y="1601048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9943878" y="1601048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6314676" y="1601048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8129278" y="1601048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870870" y="4003671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4500074" y="4003671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2685472" y="4003671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9943878" y="4003671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6314676" y="4003671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8129278" y="4003671"/>
            <a:ext cx="1368000" cy="1368000"/>
          </a:xfrm>
          <a:prstGeom prst="ellipse">
            <a:avLst/>
          </a:prstGeom>
          <a:solidFill>
            <a:srgbClr val="98C01C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marR="0" lvl="0" indent="-5492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870" y="1907048"/>
            <a:ext cx="756000" cy="756000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472" y="1876908"/>
            <a:ext cx="756000" cy="756000"/>
          </a:xfrm>
          <a:prstGeom prst="rect">
            <a:avLst/>
          </a:prstGeom>
        </p:spPr>
      </p:pic>
      <p:sp>
        <p:nvSpPr>
          <p:cNvPr id="27" name="Textfeld 26"/>
          <p:cNvSpPr txBox="1"/>
          <p:nvPr/>
        </p:nvSpPr>
        <p:spPr>
          <a:xfrm>
            <a:off x="4606973" y="1925022"/>
            <a:ext cx="11728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Schoolbook" panose="02040604050505020304" pitchFamily="18" charset="0"/>
                <a:ea typeface="+mn-ea"/>
                <a:cs typeface="+mn-cs"/>
              </a:rPr>
              <a:t>VS.</a:t>
            </a:r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0676" y="1907048"/>
            <a:ext cx="756000" cy="756000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5278" y="1876908"/>
            <a:ext cx="756000" cy="756000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9878" y="1900965"/>
            <a:ext cx="756000" cy="756000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870" y="4309671"/>
            <a:ext cx="756000" cy="75600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472" y="4309671"/>
            <a:ext cx="756000" cy="756000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074" y="4309671"/>
            <a:ext cx="756000" cy="756000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0676" y="4309671"/>
            <a:ext cx="756000" cy="756000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5278" y="4309671"/>
            <a:ext cx="756000" cy="756000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9878" y="4309671"/>
            <a:ext cx="756000" cy="756000"/>
          </a:xfrm>
          <a:prstGeom prst="rect">
            <a:avLst/>
          </a:prstGeom>
        </p:spPr>
      </p:pic>
      <p:sp>
        <p:nvSpPr>
          <p:cNvPr id="37" name="Textfeld 36"/>
          <p:cNvSpPr txBox="1"/>
          <p:nvPr/>
        </p:nvSpPr>
        <p:spPr>
          <a:xfrm>
            <a:off x="263352" y="3002446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flik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2077954" y="3003013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llaboration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3892556" y="3003013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ttbewerb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5707158" y="3002983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e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7521760" y="3002446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ufall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9336360" y="2999078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Ästhetik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263352" y="5378302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ma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2077954" y="5378302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schichte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3900907" y="5379237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sourcen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5707157" y="5378302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it</a:t>
            </a:r>
          </a:p>
        </p:txBody>
      </p:sp>
      <p:sp>
        <p:nvSpPr>
          <p:cNvPr id="47" name="Textfeld 46"/>
          <p:cNvSpPr txBox="1"/>
          <p:nvPr/>
        </p:nvSpPr>
        <p:spPr>
          <a:xfrm>
            <a:off x="7521760" y="5378302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ohnung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9338388" y="5378302"/>
            <a:ext cx="25830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l</a:t>
            </a:r>
          </a:p>
        </p:txBody>
      </p:sp>
    </p:spTree>
    <p:extLst>
      <p:ext uri="{BB962C8B-B14F-4D97-AF65-F5344CB8AC3E}">
        <p14:creationId xmlns:p14="http://schemas.microsoft.com/office/powerpoint/2010/main" val="3823808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" dur="indefinite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indefinite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indefinite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indefinite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5" dur="indefinite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8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1" dur="indefinite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4" dur="indefinite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7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0" dur="indefinite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3" dur="indefinite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6" dur="indefinite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9" dur="indefinite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17" grpId="0" animBg="1"/>
      <p:bldP spid="18" grpId="0" animBg="1"/>
      <p:bldP spid="21" grpId="0" animBg="1"/>
      <p:bldP spid="37" grpId="0"/>
      <p:bldP spid="40" grpId="0"/>
      <p:bldP spid="41" grpId="0"/>
      <p:bldP spid="42" grpId="0"/>
      <p:bldP spid="4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7FBBD5-C2F6-481E-94C6-0B8703E9AB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mificatio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DC6DDD2-F20F-4358-83DB-9982FFAD5B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Video-Wiederholung</a:t>
            </a:r>
            <a:endParaRPr lang="de-DE" dirty="0"/>
          </a:p>
        </p:txBody>
      </p:sp>
      <p:pic>
        <p:nvPicPr>
          <p:cNvPr id="49" name="Picture 2" descr="Bildergebnis für digitalkoo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" r="1955"/>
          <a:stretch/>
        </p:blipFill>
        <p:spPr bwMode="auto">
          <a:xfrm>
            <a:off x="0" y="1823679"/>
            <a:ext cx="5976664" cy="404608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http://www.seriousgaming.tudelft.nl/media/filer_public/64/c5/64c56e80-6e72-4224-91be-9adadb9de98e/held_screenshot_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44"/>
          <a:stretch/>
        </p:blipFill>
        <p:spPr bwMode="auto">
          <a:xfrm>
            <a:off x="6162557" y="1821652"/>
            <a:ext cx="6029443" cy="40556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feld 50"/>
          <p:cNvSpPr txBox="1"/>
          <p:nvPr/>
        </p:nvSpPr>
        <p:spPr>
          <a:xfrm>
            <a:off x="1696814" y="1247615"/>
            <a:ext cx="25830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mification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7885760" y="1247614"/>
            <a:ext cx="25830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ious</a:t>
            </a:r>
            <a:r>
              <a:rPr kumimoji="0" lang="de-DE" sz="24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ame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5712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4679" y="1059989"/>
            <a:ext cx="6264696" cy="5393347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6612395" y="2085459"/>
            <a:ext cx="5447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Spielerisches </a:t>
            </a:r>
            <a:r>
              <a:rPr lang="de-DE" b="1" dirty="0" err="1"/>
              <a:t>Audience</a:t>
            </a:r>
            <a:r>
              <a:rPr lang="de-DE" b="1" dirty="0"/>
              <a:t> Response System (ARS)</a:t>
            </a:r>
            <a:endParaRPr lang="de-DE" b="1" u="sng" dirty="0"/>
          </a:p>
        </p:txBody>
      </p:sp>
      <p:sp>
        <p:nvSpPr>
          <p:cNvPr id="6" name="Textfeld 5"/>
          <p:cNvSpPr txBox="1"/>
          <p:nvPr/>
        </p:nvSpPr>
        <p:spPr>
          <a:xfrm>
            <a:off x="6612395" y="2682359"/>
            <a:ext cx="374441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dirty="0"/>
              <a:t>kahoot.it im Browser öffne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dirty="0"/>
              <a:t>angezeigten Pin eingebe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dirty="0" err="1"/>
              <a:t>Nickname</a:t>
            </a:r>
            <a:r>
              <a:rPr lang="de-DE" dirty="0"/>
              <a:t> wähle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DE" dirty="0"/>
              <a:t>Spiel starten!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amificat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estphase </a:t>
            </a:r>
            <a:r>
              <a:rPr lang="de-DE" dirty="0" err="1"/>
              <a:t>Kahoot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02602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4679" y="1059989"/>
            <a:ext cx="6264696" cy="5393347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6612395" y="2085459"/>
            <a:ext cx="5447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Zugangsdaten </a:t>
            </a:r>
            <a:r>
              <a:rPr lang="de-DE" b="1" dirty="0" err="1" smtClean="0"/>
              <a:t>kahoot</a:t>
            </a:r>
            <a:r>
              <a:rPr lang="de-DE" b="1" dirty="0" smtClean="0"/>
              <a:t> für </a:t>
            </a:r>
            <a:r>
              <a:rPr lang="de-DE" b="1" dirty="0" err="1" smtClean="0"/>
              <a:t>Breakout</a:t>
            </a:r>
            <a:r>
              <a:rPr lang="de-DE" b="1" dirty="0" smtClean="0"/>
              <a:t> Session:</a:t>
            </a:r>
            <a:endParaRPr lang="de-DE" b="1" u="sng" dirty="0"/>
          </a:p>
        </p:txBody>
      </p:sp>
      <p:sp>
        <p:nvSpPr>
          <p:cNvPr id="6" name="Textfeld 5"/>
          <p:cNvSpPr txBox="1"/>
          <p:nvPr/>
        </p:nvSpPr>
        <p:spPr>
          <a:xfrm>
            <a:off x="6612395" y="2682359"/>
            <a:ext cx="3744415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hlinkClick r:id="rId4"/>
              </a:rPr>
              <a:t>p1@ima-zlw-ifu.rwth-aachen.de</a:t>
            </a:r>
            <a:r>
              <a:rPr lang="de-DE" dirty="0"/>
              <a:t> (</a:t>
            </a:r>
            <a:r>
              <a:rPr lang="de-DE" dirty="0" smtClean="0"/>
              <a:t>p1IMAIfU, PW: 01GamMR20)</a:t>
            </a: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hlinkClick r:id="rId5"/>
              </a:rPr>
              <a:t>p2@ima-zlw-ifu.rwth-aachen.de</a:t>
            </a:r>
            <a:r>
              <a:rPr lang="de-DE" dirty="0" smtClean="0"/>
              <a:t> </a:t>
            </a:r>
            <a:r>
              <a:rPr lang="de-DE" dirty="0"/>
              <a:t>(</a:t>
            </a:r>
            <a:r>
              <a:rPr lang="de-DE" dirty="0" smtClean="0"/>
              <a:t>p2IMAIfU</a:t>
            </a:r>
            <a:r>
              <a:rPr lang="de-DE" dirty="0"/>
              <a:t>, PW: </a:t>
            </a:r>
            <a:r>
              <a:rPr lang="de-DE" dirty="0" smtClean="0"/>
              <a:t>02GamMR20</a:t>
            </a:r>
            <a:r>
              <a:rPr lang="de-DE" dirty="0"/>
              <a:t>)</a:t>
            </a: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hlinkClick r:id="rId6"/>
              </a:rPr>
              <a:t>p3@ima-zlw-ifu.rwth-aachen.de</a:t>
            </a:r>
            <a:r>
              <a:rPr lang="de-DE" dirty="0" smtClean="0"/>
              <a:t> </a:t>
            </a:r>
            <a:r>
              <a:rPr lang="de-DE" dirty="0"/>
              <a:t>(</a:t>
            </a:r>
            <a:r>
              <a:rPr lang="de-DE" dirty="0" smtClean="0"/>
              <a:t>p3IMAIfU</a:t>
            </a:r>
            <a:r>
              <a:rPr lang="de-DE" dirty="0"/>
              <a:t>, PW: </a:t>
            </a:r>
            <a:r>
              <a:rPr lang="de-DE" dirty="0" smtClean="0"/>
              <a:t>03GamMR20</a:t>
            </a:r>
            <a:r>
              <a:rPr lang="de-DE" dirty="0"/>
              <a:t>)</a:t>
            </a: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hlinkClick r:id="rId7"/>
              </a:rPr>
              <a:t>p4@ima-zlw-ifu.rwth-aachen.de</a:t>
            </a:r>
            <a:r>
              <a:rPr lang="de-DE" dirty="0" smtClean="0"/>
              <a:t> </a:t>
            </a:r>
            <a:r>
              <a:rPr lang="de-DE" dirty="0"/>
              <a:t>(</a:t>
            </a:r>
            <a:r>
              <a:rPr lang="de-DE" dirty="0" smtClean="0"/>
              <a:t>p4IMAIfU</a:t>
            </a:r>
            <a:r>
              <a:rPr lang="de-DE" dirty="0"/>
              <a:t>, PW: </a:t>
            </a:r>
            <a:r>
              <a:rPr lang="de-DE" dirty="0" smtClean="0"/>
              <a:t>04GamMR20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amificat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estphase </a:t>
            </a:r>
            <a:r>
              <a:rPr lang="de-DE" dirty="0" err="1"/>
              <a:t>Kahoot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483539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204864"/>
            <a:ext cx="3094740" cy="266429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amificat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Reflexion </a:t>
            </a:r>
            <a:r>
              <a:rPr lang="de-DE" dirty="0" err="1" smtClean="0"/>
              <a:t>Kahoot</a:t>
            </a:r>
            <a:r>
              <a:rPr lang="de-DE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190661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41400"/>
            <a:ext cx="6775238" cy="512390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3557" flipH="1">
            <a:off x="4920758" y="4515893"/>
            <a:ext cx="3520225" cy="2640169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032104" y="672068"/>
            <a:ext cx="5447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Zugangsdaten für </a:t>
            </a:r>
            <a:r>
              <a:rPr lang="de-DE" b="1" dirty="0" err="1" smtClean="0"/>
              <a:t>Breakout</a:t>
            </a:r>
            <a:r>
              <a:rPr lang="de-DE" b="1" dirty="0" smtClean="0"/>
              <a:t> Session:</a:t>
            </a:r>
            <a:endParaRPr lang="de-DE" b="1" u="sng" dirty="0"/>
          </a:p>
        </p:txBody>
      </p:sp>
      <p:sp>
        <p:nvSpPr>
          <p:cNvPr id="8" name="Textfeld 7"/>
          <p:cNvSpPr txBox="1"/>
          <p:nvPr/>
        </p:nvSpPr>
        <p:spPr>
          <a:xfrm>
            <a:off x="7032104" y="1268760"/>
            <a:ext cx="5040560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dirty="0" err="1" smtClean="0"/>
              <a:t>Breakout</a:t>
            </a:r>
            <a:r>
              <a:rPr lang="de-DE" dirty="0" smtClean="0"/>
              <a:t> Session 01: </a:t>
            </a:r>
            <a:r>
              <a:rPr lang="de-DE" dirty="0">
                <a:hlinkClick r:id="rId5"/>
              </a:rPr>
              <a:t>https://sites.google.com/view/ellidigitalescape01/startseite</a:t>
            </a:r>
            <a:r>
              <a:rPr lang="de-DE" dirty="0"/>
              <a:t> </a:t>
            </a:r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dirty="0" err="1" smtClean="0"/>
              <a:t>Breakout</a:t>
            </a:r>
            <a:r>
              <a:rPr lang="de-DE" dirty="0" smtClean="0"/>
              <a:t> Session 02: </a:t>
            </a:r>
            <a:r>
              <a:rPr lang="de-DE" dirty="0">
                <a:hlinkClick r:id="rId6"/>
              </a:rPr>
              <a:t>https://</a:t>
            </a:r>
            <a:r>
              <a:rPr lang="de-DE" dirty="0" smtClean="0">
                <a:hlinkClick r:id="rId6"/>
              </a:rPr>
              <a:t>sites.google.com/view/ellidigitalescape02/startseite</a:t>
            </a:r>
            <a:r>
              <a:rPr lang="de-DE" dirty="0" smtClean="0"/>
              <a:t> </a:t>
            </a:r>
            <a:endParaRPr lang="de-DE" dirty="0"/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dirty="0" err="1" smtClean="0"/>
              <a:t>Breakout</a:t>
            </a:r>
            <a:r>
              <a:rPr lang="de-DE" dirty="0" smtClean="0"/>
              <a:t> Session 03: </a:t>
            </a:r>
            <a:r>
              <a:rPr lang="de-DE" dirty="0">
                <a:hlinkClick r:id="rId7"/>
              </a:rPr>
              <a:t>https://</a:t>
            </a:r>
            <a:r>
              <a:rPr lang="de-DE" dirty="0" smtClean="0">
                <a:hlinkClick r:id="rId7"/>
              </a:rPr>
              <a:t>sites.google.com/view/ellidigitalescape03/startseite</a:t>
            </a:r>
            <a:r>
              <a:rPr lang="de-DE" dirty="0" smtClean="0"/>
              <a:t> </a:t>
            </a:r>
            <a:endParaRPr lang="de-DE" dirty="0"/>
          </a:p>
          <a:p>
            <a:pPr marL="285750" indent="-28575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de-DE" dirty="0" err="1" smtClean="0"/>
              <a:t>Breakout</a:t>
            </a:r>
            <a:r>
              <a:rPr lang="de-DE" dirty="0"/>
              <a:t> Session 04: </a:t>
            </a:r>
            <a:r>
              <a:rPr lang="de-DE" dirty="0">
                <a:hlinkClick r:id="rId8"/>
              </a:rPr>
              <a:t>https://</a:t>
            </a:r>
            <a:r>
              <a:rPr lang="de-DE" dirty="0" smtClean="0">
                <a:hlinkClick r:id="rId8"/>
              </a:rPr>
              <a:t>sites.google.com/view/ellidigitalescape04/startseite</a:t>
            </a:r>
            <a:r>
              <a:rPr lang="de-DE" dirty="0" smtClean="0"/>
              <a:t> 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amificatio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igital </a:t>
            </a:r>
            <a:r>
              <a:rPr lang="de-DE" dirty="0" err="1" smtClean="0"/>
              <a:t>Escape</a:t>
            </a:r>
            <a:r>
              <a:rPr lang="de-DE" dirty="0" smtClean="0"/>
              <a:t> </a:t>
            </a:r>
            <a:r>
              <a:rPr lang="de-DE" dirty="0" err="1" smtClean="0"/>
              <a:t>Roo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1109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Larissa">
  <a:themeElements>
    <a:clrScheme name="Elli">
      <a:dk1>
        <a:srgbClr val="000000"/>
      </a:dk1>
      <a:lt1>
        <a:srgbClr val="FFFFFF"/>
      </a:lt1>
      <a:dk2>
        <a:srgbClr val="141616"/>
      </a:dk2>
      <a:lt2>
        <a:srgbClr val="E8F1FA"/>
      </a:lt2>
      <a:accent1>
        <a:srgbClr val="637F13"/>
      </a:accent1>
      <a:accent2>
        <a:srgbClr val="97C01E"/>
      </a:accent2>
      <a:accent3>
        <a:srgbClr val="C3E660"/>
      </a:accent3>
      <a:accent4>
        <a:srgbClr val="D3D3D1"/>
      </a:accent4>
      <a:accent5>
        <a:srgbClr val="C8C8C8"/>
      </a:accent5>
      <a:accent6>
        <a:srgbClr val="5E6600"/>
      </a:accent6>
      <a:hlink>
        <a:srgbClr val="081623"/>
      </a:hlink>
      <a:folHlink>
        <a:srgbClr val="296F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93</Words>
  <Application>Microsoft Office PowerPoint</Application>
  <PresentationFormat>Breitbild</PresentationFormat>
  <Paragraphs>160</Paragraphs>
  <Slides>22</Slides>
  <Notes>20</Notes>
  <HiddenSlides>6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0" baseType="lpstr">
      <vt:lpstr>ＭＳ Ｐゴシック</vt:lpstr>
      <vt:lpstr>Arial</vt:lpstr>
      <vt:lpstr>Calibri</vt:lpstr>
      <vt:lpstr>Century Schoolbook</vt:lpstr>
      <vt:lpstr>Segoe UI Light</vt:lpstr>
      <vt:lpstr>Symbol</vt:lpstr>
      <vt:lpstr>Wingdings</vt:lpstr>
      <vt:lpstr>Larissa</vt:lpstr>
      <vt:lpstr>PowerPoint-Präsentation</vt:lpstr>
      <vt:lpstr>Organisatorisches</vt:lpstr>
      <vt:lpstr>Gamification</vt:lpstr>
      <vt:lpstr>Gamification</vt:lpstr>
      <vt:lpstr>Gamification</vt:lpstr>
      <vt:lpstr>Gamification</vt:lpstr>
      <vt:lpstr>Gamification</vt:lpstr>
      <vt:lpstr>Gamification</vt:lpstr>
      <vt:lpstr>Gamification</vt:lpstr>
      <vt:lpstr>Gamification</vt:lpstr>
      <vt:lpstr>Digital Escape Room</vt:lpstr>
      <vt:lpstr>Digital Escape Room</vt:lpstr>
      <vt:lpstr>Digital Escape Room</vt:lpstr>
      <vt:lpstr>Digital Escape Room</vt:lpstr>
      <vt:lpstr>Digital Escape Room</vt:lpstr>
      <vt:lpstr>Digital Escape Room</vt:lpstr>
      <vt:lpstr>Gamification</vt:lpstr>
      <vt:lpstr>Design Thinking</vt:lpstr>
      <vt:lpstr>Design Thinking</vt:lpstr>
      <vt:lpstr>Design Thinking</vt:lpstr>
      <vt:lpstr>Design Thinking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min</dc:creator>
  <cp:lastModifiedBy>Nina Schiffeler</cp:lastModifiedBy>
  <cp:revision>1007</cp:revision>
  <cp:lastPrinted>2018-08-01T06:21:14Z</cp:lastPrinted>
  <dcterms:created xsi:type="dcterms:W3CDTF">2012-08-14T08:12:56Z</dcterms:created>
  <dcterms:modified xsi:type="dcterms:W3CDTF">2020-11-11T10:46:21Z</dcterms:modified>
</cp:coreProperties>
</file>